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3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0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4186" r:id="rId5"/>
    <p:sldMasterId id="2147484202" r:id="rId6"/>
    <p:sldMasterId id="2147484227" r:id="rId7"/>
  </p:sldMasterIdLst>
  <p:notesMasterIdLst>
    <p:notesMasterId r:id="rId19"/>
  </p:notesMasterIdLst>
  <p:handoutMasterIdLst>
    <p:handoutMasterId r:id="rId20"/>
  </p:handoutMasterIdLst>
  <p:sldIdLst>
    <p:sldId id="256" r:id="rId8"/>
    <p:sldId id="358" r:id="rId9"/>
    <p:sldId id="362" r:id="rId10"/>
    <p:sldId id="368" r:id="rId11"/>
    <p:sldId id="360" r:id="rId12"/>
    <p:sldId id="363" r:id="rId13"/>
    <p:sldId id="364" r:id="rId14"/>
    <p:sldId id="365" r:id="rId15"/>
    <p:sldId id="366" r:id="rId16"/>
    <p:sldId id="367" r:id="rId17"/>
    <p:sldId id="361" r:id="rId18"/>
  </p:sldIdLst>
  <p:sldSz cx="9906000" cy="6858000" type="A4"/>
  <p:notesSz cx="6858000" cy="9144000"/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CEA68FA2-BB69-41B5-AE18-1B6487FBC392}">
          <p14:sldIdLst>
            <p14:sldId id="256"/>
          </p14:sldIdLst>
        </p14:section>
        <p14:section name="Раздел без заголовка" id="{C00C9215-64A6-4F2A-8D13-6474584BB84F}">
          <p14:sldIdLst>
            <p14:sldId id="358"/>
            <p14:sldId id="362"/>
            <p14:sldId id="368"/>
            <p14:sldId id="360"/>
            <p14:sldId id="363"/>
            <p14:sldId id="364"/>
            <p14:sldId id="365"/>
            <p14:sldId id="366"/>
            <p14:sldId id="367"/>
            <p14:sldId id="361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Феденюк Татьяна Сергеевна" initials="ФТС" lastIdx="1" clrIdx="0">
    <p:extLst>
      <p:ext uri="{19B8F6BF-5375-455C-9EA6-DF929625EA0E}">
        <p15:presenceInfo xmlns:p15="http://schemas.microsoft.com/office/powerpoint/2012/main" userId="Феденюк Татьяна Сергеевна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C95"/>
    <a:srgbClr val="EEF0A6"/>
    <a:srgbClr val="E5F2F2"/>
    <a:srgbClr val="0098A4"/>
    <a:srgbClr val="B2E381"/>
    <a:srgbClr val="808080"/>
    <a:srgbClr val="F58A1F"/>
    <a:srgbClr val="D0D0D0"/>
    <a:srgbClr val="F2F2F2"/>
    <a:srgbClr val="B2D2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8D230F3-CF80-4859-8CE7-A43EE81993B5}" styleName="Светлый стиль 1 - акцент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A488322-F2BA-4B5B-9748-0D474271808F}" styleName="Средний стиль 3 - акцент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93" autoAdjust="0"/>
    <p:restoredTop sz="94582" autoAdjust="0"/>
  </p:normalViewPr>
  <p:slideViewPr>
    <p:cSldViewPr snapToGrid="0">
      <p:cViewPr varScale="1">
        <p:scale>
          <a:sx n="67" d="100"/>
          <a:sy n="67" d="100"/>
        </p:scale>
        <p:origin x="38" y="331"/>
      </p:cViewPr>
      <p:guideLst/>
    </p:cSldViewPr>
  </p:slideViewPr>
  <p:outlineViewPr>
    <p:cViewPr>
      <p:scale>
        <a:sx n="33" d="100"/>
        <a:sy n="33" d="100"/>
      </p:scale>
      <p:origin x="0" y="72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6" d="100"/>
          <a:sy n="96" d="100"/>
        </p:scale>
        <p:origin x="2436" y="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4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8.xml"/><Relationship Id="rId23" Type="http://schemas.openxmlformats.org/officeDocument/2006/relationships/presProps" Target="presProps.xml"/><Relationship Id="rId10" Type="http://schemas.openxmlformats.org/officeDocument/2006/relationships/slide" Target="slides/slide3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C08B40-76F4-4574-A2E9-FC2E8E3C3F7F}" type="datetimeFigureOut">
              <a:rPr lang="ru-RU" smtClean="0"/>
              <a:t>14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18C9466-0FDB-4D5F-8F67-8230A546508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18384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4903D09-D85A-4594-9EA3-CBA54C90E794}" type="datetimeFigureOut">
              <a:rPr lang="ru-RU" smtClean="0"/>
              <a:t>14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F56DA7-AAD7-473E-A78B-09A07C1CFD8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38567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8979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4D3A0FA-65F5-4B05-ACA7-7AD9A890369F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7430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685800" y="4343399"/>
            <a:ext cx="5486400" cy="3366911"/>
          </a:xfrm>
        </p:spPr>
        <p:txBody>
          <a:bodyPr/>
          <a:lstStyle/>
          <a:p>
            <a:pPr algn="just">
              <a:lnSpc>
                <a:spcPct val="150000"/>
              </a:lnSpc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F56DA7-AAD7-473E-A78B-09A07C1CFD8C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099873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3.xml"/><Relationship Id="rId4" Type="http://schemas.openxmlformats.org/officeDocument/2006/relationships/image" Target="../media/image6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Титульный - ООО «СИБУР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0801" y="1991788"/>
            <a:ext cx="5582235" cy="1426895"/>
          </a:xfrm>
        </p:spPr>
        <p:txBody>
          <a:bodyPr tIns="0" rIns="0" bIns="0"/>
          <a:lstStyle>
            <a:lvl1pPr algn="l">
              <a:defRPr sz="3200"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130819" y="4170872"/>
            <a:ext cx="5582523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Фамилия Имя Отчество</a:t>
            </a:r>
          </a:p>
          <a:p>
            <a:r>
              <a:rPr lang="ru-RU" dirty="0"/>
              <a:t>Должность, подразделение/функция, </a:t>
            </a:r>
            <a:br>
              <a:rPr lang="ru-RU" dirty="0"/>
            </a:br>
            <a:r>
              <a:rPr lang="ru-RU" dirty="0"/>
              <a:t>название организации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011855" y="6022681"/>
            <a:ext cx="1558440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>
                <a:solidFill>
                  <a:schemeClr val="accent1"/>
                </a:solidFill>
              </a:rPr>
              <a:t>ООО «СИБУР»</a:t>
            </a:r>
          </a:p>
        </p:txBody>
      </p:sp>
      <p:sp>
        <p:nvSpPr>
          <p:cNvPr id="10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30839" y="5271294"/>
            <a:ext cx="557513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</a:t>
            </a:r>
          </a:p>
        </p:txBody>
      </p:sp>
      <p:pic>
        <p:nvPicPr>
          <p:cNvPr id="11" name="Изображение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8" t="21187" r="65578" b="21080"/>
          <a:stretch/>
        </p:blipFill>
        <p:spPr>
          <a:xfrm>
            <a:off x="356644" y="1147365"/>
            <a:ext cx="3284700" cy="4437226"/>
          </a:xfrm>
          <a:prstGeom prst="rect">
            <a:avLst/>
          </a:prstGeom>
        </p:spPr>
      </p:pic>
      <p:cxnSp>
        <p:nvCxnSpPr>
          <p:cNvPr id="13" name="Прямая соединительная линия 12"/>
          <p:cNvCxnSpPr/>
          <p:nvPr userDrawn="1"/>
        </p:nvCxnSpPr>
        <p:spPr bwMode="auto">
          <a:xfrm flipH="1" flipV="1">
            <a:off x="5570295" y="6183107"/>
            <a:ext cx="4320000" cy="16423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/>
          <p:nvPr userDrawn="1"/>
        </p:nvCxnSpPr>
        <p:spPr bwMode="auto">
          <a:xfrm>
            <a:off x="-1" y="6199530"/>
            <a:ext cx="403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5818" y="470072"/>
            <a:ext cx="1275317" cy="241009"/>
          </a:xfrm>
          <a:prstGeom prst="rect">
            <a:avLst/>
          </a:prstGeom>
        </p:spPr>
      </p:pic>
      <p:grpSp>
        <p:nvGrpSpPr>
          <p:cNvPr id="6" name="Группа 5"/>
          <p:cNvGrpSpPr/>
          <p:nvPr userDrawn="1"/>
        </p:nvGrpSpPr>
        <p:grpSpPr>
          <a:xfrm>
            <a:off x="9963193" y="1"/>
            <a:ext cx="3914732" cy="6858000"/>
            <a:chOff x="9963193" y="1"/>
            <a:chExt cx="3914732" cy="6858000"/>
          </a:xfrm>
        </p:grpSpPr>
        <p:sp>
          <p:nvSpPr>
            <p:cNvPr id="44" name="Прямоугольник 43"/>
            <p:cNvSpPr/>
            <p:nvPr userDrawn="1"/>
          </p:nvSpPr>
          <p:spPr>
            <a:xfrm>
              <a:off x="9963193" y="1"/>
              <a:ext cx="3914732" cy="6858000"/>
            </a:xfrm>
            <a:prstGeom prst="rect">
              <a:avLst/>
            </a:prstGeom>
            <a:solidFill>
              <a:srgbClr val="149395"/>
            </a:solidFill>
            <a:ln>
              <a:noFill/>
            </a:ln>
          </p:spPr>
          <p:txBody>
            <a:bodyPr wrap="square" lIns="756000">
              <a:noAutofit/>
            </a:bodyPr>
            <a:lstStyle/>
            <a:p>
              <a:r>
                <a:rPr lang="ru-RU" sz="18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800" b="0" dirty="0">
                  <a:solidFill>
                    <a:schemeClr val="bg1"/>
                  </a:solidFill>
                </a:rPr>
              </a:br>
              <a:r>
                <a:rPr lang="ru-RU" sz="1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63" rtl="0" eaLnBrk="1" latinLnBrk="0" hangingPunct="1"/>
              <a:endParaRPr lang="ru-RU" sz="105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3" indent="-182563" algn="l" defTabSz="779163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105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700" lvl="4" indent="-88900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105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5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50" b="0" baseline="0" dirty="0">
                  <a:solidFill>
                    <a:schemeClr val="bg1"/>
                  </a:solidFill>
                </a:rPr>
                <a:t> </a:t>
              </a:r>
              <a:r>
                <a:rPr lang="ru-RU" sz="1050" baseline="0" dirty="0">
                  <a:solidFill>
                    <a:schemeClr val="bg1"/>
                  </a:solidFill>
                </a:rPr>
                <a:t>– </a:t>
              </a:r>
              <a:br>
                <a:rPr lang="ru-RU" sz="1050" baseline="0" dirty="0">
                  <a:solidFill>
                    <a:schemeClr val="bg1"/>
                  </a:solidFill>
                </a:rPr>
              </a:br>
              <a:r>
                <a:rPr lang="en-US" sz="1050" b="1" dirty="0">
                  <a:solidFill>
                    <a:schemeClr val="bg1"/>
                  </a:solidFill>
                </a:rPr>
                <a:t>Arial</a:t>
              </a:r>
              <a:r>
                <a:rPr lang="ru-RU" sz="1050" dirty="0">
                  <a:solidFill>
                    <a:schemeClr val="bg1"/>
                  </a:solidFill>
                </a:rPr>
                <a:t> (</a:t>
              </a:r>
              <a:r>
                <a:rPr lang="ru-RU" sz="1050" i="1" dirty="0">
                  <a:solidFill>
                    <a:schemeClr val="bg1"/>
                  </a:solidFill>
                </a:rPr>
                <a:t>д</a:t>
              </a:r>
              <a:r>
                <a:rPr lang="ru-RU" sz="105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50" baseline="0" dirty="0">
                  <a:solidFill>
                    <a:schemeClr val="bg1"/>
                  </a:solidFill>
                </a:rPr>
                <a:t> </a:t>
              </a:r>
              <a:r>
                <a:rPr lang="en-US" sz="105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50" baseline="0" dirty="0">
                  <a:solidFill>
                    <a:schemeClr val="bg1"/>
                  </a:solidFill>
                </a:rPr>
                <a:t>)</a:t>
              </a:r>
            </a:p>
            <a:p>
              <a:pPr marL="266700" lvl="4" indent="-88900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105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5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50" b="1" baseline="0" dirty="0" err="1">
                  <a:solidFill>
                    <a:schemeClr val="bg1"/>
                  </a:solidFill>
                </a:rPr>
                <a:t>пт</a:t>
              </a:r>
              <a:endParaRPr lang="ru-RU" sz="1050" b="1" baseline="0" dirty="0">
                <a:solidFill>
                  <a:schemeClr val="bg1"/>
                </a:solidFill>
              </a:endParaRPr>
            </a:p>
            <a:p>
              <a:pPr marL="266700" lvl="4" indent="-88900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105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5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50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50" b="1" baseline="0" dirty="0">
                  <a:solidFill>
                    <a:schemeClr val="bg1"/>
                  </a:solidFill>
                </a:rPr>
                <a:t> </a:t>
              </a:r>
              <a:r>
                <a:rPr lang="ru-RU" sz="1050" b="1" baseline="0" dirty="0" err="1">
                  <a:solidFill>
                    <a:schemeClr val="bg1"/>
                  </a:solidFill>
                </a:rPr>
                <a:t>пт</a:t>
              </a:r>
              <a:endParaRPr lang="ru-RU" sz="1050" b="1" baseline="0" dirty="0">
                <a:solidFill>
                  <a:schemeClr val="bg1"/>
                </a:solidFill>
              </a:endParaRPr>
            </a:p>
            <a:p>
              <a:pPr marL="266700" lvl="4" indent="-88900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105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5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50" b="1" baseline="0" dirty="0">
                  <a:solidFill>
                    <a:schemeClr val="bg1"/>
                  </a:solidFill>
                </a:rPr>
                <a:t>8</a:t>
              </a:r>
              <a:r>
                <a:rPr lang="ru-RU" sz="1050" b="1" baseline="0" dirty="0">
                  <a:solidFill>
                    <a:schemeClr val="bg1"/>
                  </a:solidFill>
                </a:rPr>
                <a:t> </a:t>
              </a:r>
              <a:r>
                <a:rPr lang="ru-RU" sz="1050" b="1" baseline="0" dirty="0" err="1">
                  <a:solidFill>
                    <a:schemeClr val="bg1"/>
                  </a:solidFill>
                </a:rPr>
                <a:t>пт</a:t>
              </a:r>
              <a:endParaRPr lang="ru-RU" sz="1050" b="1" baseline="0" dirty="0">
                <a:solidFill>
                  <a:schemeClr val="bg1"/>
                </a:solidFill>
              </a:endParaRPr>
            </a:p>
            <a:p>
              <a:pPr marL="266700" lvl="4" indent="-88900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105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50" baseline="0" dirty="0">
                  <a:solidFill>
                    <a:schemeClr val="bg1"/>
                  </a:solidFill>
                </a:rPr>
              </a:br>
              <a:r>
                <a:rPr lang="ru-RU" sz="105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50" b="1" baseline="0" dirty="0">
                <a:solidFill>
                  <a:schemeClr val="bg1"/>
                </a:solidFill>
              </a:endParaRPr>
            </a:p>
            <a:p>
              <a:pPr marL="182563" indent="-182563" algn="l" defTabSz="779163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105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700" lvl="1" indent="-79375" algn="l" defTabSz="779163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700" lvl="1" indent="-79375" algn="l" defTabSz="779163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5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700" lvl="1" indent="-79375" algn="l" defTabSz="779163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5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5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50" baseline="0" dirty="0">
                  <a:solidFill>
                    <a:schemeClr val="bg1"/>
                  </a:solidFill>
                </a:rPr>
                <a:t> </a:t>
              </a:r>
              <a:br>
                <a:rPr lang="ru-RU" sz="1050" baseline="0" dirty="0">
                  <a:solidFill>
                    <a:schemeClr val="bg1"/>
                  </a:solidFill>
                </a:rPr>
              </a:br>
              <a:r>
                <a:rPr lang="ru-RU" sz="105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50" dirty="0">
                  <a:solidFill>
                    <a:schemeClr val="bg1"/>
                  </a:solidFill>
                </a:rPr>
                <a:t>в</a:t>
              </a:r>
              <a:r>
                <a:rPr lang="ru-RU" sz="105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5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5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700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bg1"/>
                  </a:solidFill>
                </a:rPr>
                <a:t>Нельзя</a:t>
              </a:r>
              <a:r>
                <a:rPr lang="ru-RU" sz="105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700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50" baseline="0" dirty="0">
                  <a:solidFill>
                    <a:schemeClr val="bg1"/>
                  </a:solidFill>
                </a:rPr>
                <a:t> – </a:t>
              </a:r>
              <a:br>
                <a:rPr lang="ru-RU" sz="1050" baseline="0" dirty="0">
                  <a:solidFill>
                    <a:schemeClr val="bg1"/>
                  </a:solidFill>
                </a:rPr>
              </a:br>
              <a:r>
                <a:rPr lang="ru-RU" sz="105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50" b="1" dirty="0">
                <a:solidFill>
                  <a:schemeClr val="bg1"/>
                </a:solidFill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5" marR="0" lvl="1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5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5" name="Прямоугольник 44"/>
            <p:cNvSpPr/>
            <p:nvPr userDrawn="1"/>
          </p:nvSpPr>
          <p:spPr>
            <a:xfrm>
              <a:off x="10063795" y="91982"/>
              <a:ext cx="508348" cy="588276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1000" dirty="0">
                  <a:solidFill>
                    <a:srgbClr val="FFFFFF"/>
                  </a:solidFill>
                </a:rPr>
                <a:t>140</a:t>
              </a:r>
              <a:endParaRPr lang="ru-RU" sz="10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</a:t>
              </a:r>
              <a:r>
                <a:rPr lang="en-US" sz="1000" dirty="0">
                  <a:solidFill>
                    <a:srgbClr val="FFFFFF"/>
                  </a:solidFill>
                </a:rPr>
                <a:t>49</a:t>
              </a:r>
              <a:endParaRPr lang="ru-RU" sz="1000" dirty="0">
                <a:solidFill>
                  <a:srgbClr val="FFFFFF"/>
                </a:solidFill>
              </a:endParaRP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10063795" y="1268534"/>
              <a:ext cx="508348" cy="58988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10063795" y="680259"/>
              <a:ext cx="508348" cy="588278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10063795" y="4533728"/>
              <a:ext cx="508348" cy="588278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9" name="Прямоугольник 48"/>
            <p:cNvSpPr/>
            <p:nvPr userDrawn="1"/>
          </p:nvSpPr>
          <p:spPr>
            <a:xfrm>
              <a:off x="10063795" y="2185414"/>
              <a:ext cx="508348" cy="58988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10063795" y="2768881"/>
              <a:ext cx="508348" cy="588276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10063795" y="3357164"/>
              <a:ext cx="508348" cy="588278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10063795" y="3945436"/>
              <a:ext cx="508348" cy="588276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10063795" y="5121989"/>
              <a:ext cx="508348" cy="58988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10063795" y="5711869"/>
              <a:ext cx="508348" cy="58988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10063798" y="1268534"/>
              <a:ext cx="508348" cy="58988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10063798" y="680259"/>
              <a:ext cx="508348" cy="588278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10063798" y="4533732"/>
              <a:ext cx="508348" cy="588278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8" name="Прямоугольник 57"/>
            <p:cNvSpPr/>
            <p:nvPr userDrawn="1"/>
          </p:nvSpPr>
          <p:spPr>
            <a:xfrm>
              <a:off x="10063798" y="2185414"/>
              <a:ext cx="508348" cy="58988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10063798" y="2768881"/>
              <a:ext cx="508348" cy="588276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10063798" y="3357164"/>
              <a:ext cx="508348" cy="588278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1" name="Прямоугольник 60"/>
            <p:cNvSpPr/>
            <p:nvPr userDrawn="1"/>
          </p:nvSpPr>
          <p:spPr>
            <a:xfrm>
              <a:off x="10063798" y="3945436"/>
              <a:ext cx="508348" cy="588276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10063798" y="5121989"/>
              <a:ext cx="508348" cy="58988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10063798" y="5711869"/>
              <a:ext cx="508348" cy="58988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64" name="Прямая соединительная линия 63"/>
            <p:cNvCxnSpPr/>
            <p:nvPr userDrawn="1"/>
          </p:nvCxnSpPr>
          <p:spPr bwMode="auto">
            <a:xfrm>
              <a:off x="10728153" y="624618"/>
              <a:ext cx="292355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29473013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63305" y="1800535"/>
            <a:ext cx="3197734" cy="290195"/>
          </a:xfrm>
        </p:spPr>
        <p:txBody>
          <a:bodyPr/>
          <a:lstStyle>
            <a:lvl1pPr>
              <a:defRPr kumimoji="0" lang="ru-RU" sz="2400" b="0" i="0" u="none" strike="noStrike" kern="1200" cap="none" spc="0" normalizeH="0" baseline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cxnSpLocks/>
          </p:cNvCxnSpPr>
          <p:nvPr userDrawn="1"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/>
          <p:cNvCxnSpPr>
            <a:cxnSpLocks/>
          </p:cNvCxnSpPr>
          <p:nvPr userDrawn="1"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8" name="Дата 7"/>
          <p:cNvSpPr>
            <a:spLocks noGrp="1"/>
          </p:cNvSpPr>
          <p:nvPr>
            <p:ph type="dt" sz="half" idx="10"/>
          </p:nvPr>
        </p:nvSpPr>
        <p:spPr>
          <a:xfrm>
            <a:off x="6872038" y="6469470"/>
            <a:ext cx="813998" cy="234231"/>
          </a:xfrm>
        </p:spPr>
        <p:txBody>
          <a:bodyPr/>
          <a:lstStyle/>
          <a:p>
            <a:fld id="{77251FCF-D574-40C1-A52D-4F578CCEA974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20" name="Нижний колонтитул 8"/>
          <p:cNvSpPr>
            <a:spLocks noGrp="1"/>
          </p:cNvSpPr>
          <p:nvPr>
            <p:ph type="ftr" sz="quarter" idx="12"/>
          </p:nvPr>
        </p:nvSpPr>
        <p:spPr>
          <a:xfrm>
            <a:off x="287666" y="6248070"/>
            <a:ext cx="6417933" cy="455631"/>
          </a:xfrm>
        </p:spPr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21" name="Номер слайда 9"/>
          <p:cNvSpPr>
            <a:spLocks noGrp="1"/>
          </p:cNvSpPr>
          <p:nvPr>
            <p:ph type="sldNum" sz="quarter" idx="13"/>
          </p:nvPr>
        </p:nvSpPr>
        <p:spPr>
          <a:xfrm>
            <a:off x="9179045" y="6392551"/>
            <a:ext cx="471821" cy="311150"/>
          </a:xfrm>
        </p:spPr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87725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223781" y="1146143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223781" y="3045905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223781" y="4811682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824667" y="127322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824667" y="152468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824667" y="312488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824667" y="337634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824667" y="494606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824667" y="519752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 userDrawn="1"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58B2A62-AA01-42C5-992E-DD085FD926F1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754247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797751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860742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804627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737609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808654" y="4292471"/>
            <a:ext cx="2503488" cy="254973"/>
          </a:xfrm>
        </p:spPr>
        <p:txBody>
          <a:bodyPr/>
          <a:lstStyle>
            <a:lvl1pPr>
              <a:defRPr lang="ru-RU" sz="1200" b="1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808654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74163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752539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752539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674618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685521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685521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797751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374163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6674618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797751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374163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6674618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797751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374163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6674618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797751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374163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 userDrawn="1"/>
        </p:nvCxnSpPr>
        <p:spPr bwMode="auto">
          <a:xfrm>
            <a:off x="6674618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5C2B560-C4BD-4790-A04D-9014E365FFFF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027889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668D3-485A-4EC7-94A1-48316DB6A481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57085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185750"/>
            <a:ext cx="2228850" cy="5945187"/>
          </a:xfrm>
        </p:spPr>
        <p:txBody>
          <a:bodyPr vert="eaVert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6596" y="185750"/>
            <a:ext cx="6430154" cy="594518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9667" y="6405385"/>
            <a:ext cx="406577" cy="311150"/>
          </a:xfrm>
          <a:ln/>
        </p:spPr>
        <p:txBody>
          <a:bodyPr/>
          <a:lstStyle>
            <a:lvl1pPr>
              <a:defRPr/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167128" y="4319045"/>
            <a:ext cx="813998" cy="234231"/>
          </a:xfrm>
        </p:spPr>
        <p:txBody>
          <a:bodyPr/>
          <a:lstStyle/>
          <a:p>
            <a:fld id="{14A0206A-7786-4CA1-9012-F2A726BCF448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1220315" y="1512118"/>
            <a:ext cx="3136900" cy="500702"/>
          </a:xfrm>
        </p:spPr>
        <p:txBody>
          <a:bodyPr/>
          <a:lstStyle/>
          <a:p>
            <a:r>
              <a:rPr lang="ru-RU">
                <a:solidFill>
                  <a:prstClr val="black">
                    <a:lumMod val="85000"/>
                    <a:lumOff val="15000"/>
                  </a:prstClr>
                </a:solidFill>
              </a:rPr>
              <a:t>Название презентации. Мероприятие</a:t>
            </a:r>
          </a:p>
        </p:txBody>
      </p:sp>
      <p:pic>
        <p:nvPicPr>
          <p:cNvPr id="11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pic>
        <p:nvPicPr>
          <p:cNvPr id="14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cxnSp>
        <p:nvCxnSpPr>
          <p:cNvPr id="20" name="Прямая соединительная линия 19"/>
          <p:cNvCxnSpPr/>
          <p:nvPr userDrawn="1"/>
        </p:nvCxnSpPr>
        <p:spPr bwMode="auto">
          <a:xfrm rot="5400000">
            <a:off x="-1137375" y="5257799"/>
            <a:ext cx="3200401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21186409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723" y="2119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3" y="2119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68944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01301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1"/>
            <a:ext cx="9906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318803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1"/>
            <a:ext cx="9906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591979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1"/>
            <a:ext cx="9906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8706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0801" y="1991788"/>
            <a:ext cx="5582235" cy="1426895"/>
          </a:xfrm>
        </p:spPr>
        <p:txBody>
          <a:bodyPr tIns="0" rIns="0" bIns="0"/>
          <a:lstStyle>
            <a:lvl1pPr algn="l">
              <a:defRPr sz="3200" b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130819" y="4170873"/>
            <a:ext cx="5582523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Фамилия Имя Отчество</a:t>
            </a:r>
          </a:p>
          <a:p>
            <a:r>
              <a:rPr lang="ru-RU" dirty="0"/>
              <a:t>Должность, подразделение/функция, </a:t>
            </a:r>
            <a:br>
              <a:rPr lang="ru-RU" dirty="0"/>
            </a:br>
            <a:r>
              <a:rPr lang="ru-RU" dirty="0"/>
              <a:t>название организации 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30839" y="5271294"/>
            <a:ext cx="557513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008036" y="6022681"/>
            <a:ext cx="238366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>
                <a:solidFill>
                  <a:schemeClr val="accent1"/>
                </a:solidFill>
              </a:rPr>
              <a:t>ПАО «СИБУР Холдинг»</a:t>
            </a:r>
          </a:p>
        </p:txBody>
      </p:sp>
      <p:pic>
        <p:nvPicPr>
          <p:cNvPr id="10" name="Изображение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08" t="21187" r="65578" b="21080"/>
          <a:stretch/>
        </p:blipFill>
        <p:spPr>
          <a:xfrm>
            <a:off x="356644" y="1147365"/>
            <a:ext cx="3284700" cy="4437226"/>
          </a:xfrm>
          <a:prstGeom prst="rect">
            <a:avLst/>
          </a:prstGeom>
        </p:spPr>
      </p:pic>
      <p:cxnSp>
        <p:nvCxnSpPr>
          <p:cNvPr id="11" name="Прямая соединительная линия 10"/>
          <p:cNvCxnSpPr/>
          <p:nvPr userDrawn="1"/>
        </p:nvCxnSpPr>
        <p:spPr bwMode="auto">
          <a:xfrm flipH="1" flipV="1">
            <a:off x="6391702" y="6183107"/>
            <a:ext cx="3492000" cy="16423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/>
          <p:nvPr userDrawn="1"/>
        </p:nvCxnSpPr>
        <p:spPr bwMode="auto">
          <a:xfrm>
            <a:off x="-1" y="6199530"/>
            <a:ext cx="403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alpha val="80000"/>
                  </a:schemeClr>
                </a:gs>
                <a:gs pos="47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15" name="Рисунок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85818" y="470072"/>
            <a:ext cx="1275317" cy="241009"/>
          </a:xfrm>
          <a:prstGeom prst="rect">
            <a:avLst/>
          </a:prstGeom>
        </p:spPr>
      </p:pic>
      <p:grpSp>
        <p:nvGrpSpPr>
          <p:cNvPr id="4" name="Группа 3"/>
          <p:cNvGrpSpPr/>
          <p:nvPr userDrawn="1"/>
        </p:nvGrpSpPr>
        <p:grpSpPr>
          <a:xfrm>
            <a:off x="9963193" y="1"/>
            <a:ext cx="3914732" cy="6858000"/>
            <a:chOff x="9963193" y="1"/>
            <a:chExt cx="3914732" cy="6858000"/>
          </a:xfrm>
        </p:grpSpPr>
        <p:sp>
          <p:nvSpPr>
            <p:cNvPr id="43" name="Прямоугольник 42"/>
            <p:cNvSpPr/>
            <p:nvPr userDrawn="1"/>
          </p:nvSpPr>
          <p:spPr>
            <a:xfrm>
              <a:off x="9963193" y="1"/>
              <a:ext cx="3914732" cy="6858000"/>
            </a:xfrm>
            <a:prstGeom prst="rect">
              <a:avLst/>
            </a:prstGeom>
            <a:solidFill>
              <a:srgbClr val="149395"/>
            </a:solidFill>
            <a:ln>
              <a:noFill/>
            </a:ln>
          </p:spPr>
          <p:txBody>
            <a:bodyPr wrap="square" lIns="756000">
              <a:noAutofit/>
            </a:bodyPr>
            <a:lstStyle/>
            <a:p>
              <a:r>
                <a:rPr lang="ru-RU" sz="18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800" b="0" dirty="0">
                  <a:solidFill>
                    <a:schemeClr val="bg1"/>
                  </a:solidFill>
                </a:rPr>
              </a:br>
              <a:r>
                <a:rPr lang="ru-RU" sz="1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63" rtl="0" eaLnBrk="1" latinLnBrk="0" hangingPunct="1"/>
              <a:endParaRPr lang="ru-RU" sz="105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3" indent="-182563" algn="l" defTabSz="779163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105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700" lvl="4" indent="-88900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105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105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1050" b="0" baseline="0" dirty="0">
                  <a:solidFill>
                    <a:schemeClr val="bg1"/>
                  </a:solidFill>
                </a:rPr>
                <a:t> </a:t>
              </a:r>
              <a:r>
                <a:rPr lang="ru-RU" sz="1050" baseline="0" dirty="0">
                  <a:solidFill>
                    <a:schemeClr val="bg1"/>
                  </a:solidFill>
                </a:rPr>
                <a:t>– </a:t>
              </a:r>
              <a:br>
                <a:rPr lang="ru-RU" sz="1050" baseline="0" dirty="0">
                  <a:solidFill>
                    <a:schemeClr val="bg1"/>
                  </a:solidFill>
                </a:rPr>
              </a:br>
              <a:r>
                <a:rPr lang="en-US" sz="1050" b="1" dirty="0">
                  <a:solidFill>
                    <a:schemeClr val="bg1"/>
                  </a:solidFill>
                </a:rPr>
                <a:t>Arial</a:t>
              </a:r>
              <a:r>
                <a:rPr lang="ru-RU" sz="1050" dirty="0">
                  <a:solidFill>
                    <a:schemeClr val="bg1"/>
                  </a:solidFill>
                </a:rPr>
                <a:t> (</a:t>
              </a:r>
              <a:r>
                <a:rPr lang="ru-RU" sz="1050" i="1" dirty="0">
                  <a:solidFill>
                    <a:schemeClr val="bg1"/>
                  </a:solidFill>
                </a:rPr>
                <a:t>д</a:t>
              </a:r>
              <a:r>
                <a:rPr lang="ru-RU" sz="105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1050" baseline="0" dirty="0">
                  <a:solidFill>
                    <a:schemeClr val="bg1"/>
                  </a:solidFill>
                </a:rPr>
                <a:t> </a:t>
              </a:r>
              <a:r>
                <a:rPr lang="en-US" sz="105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1050" baseline="0" dirty="0">
                  <a:solidFill>
                    <a:schemeClr val="bg1"/>
                  </a:solidFill>
                </a:rPr>
                <a:t>)</a:t>
              </a:r>
            </a:p>
            <a:p>
              <a:pPr marL="266700" lvl="4" indent="-88900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105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105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1050" b="1" baseline="0" dirty="0" err="1">
                  <a:solidFill>
                    <a:schemeClr val="bg1"/>
                  </a:solidFill>
                </a:rPr>
                <a:t>пт</a:t>
              </a:r>
              <a:endParaRPr lang="ru-RU" sz="1050" b="1" baseline="0" dirty="0">
                <a:solidFill>
                  <a:schemeClr val="bg1"/>
                </a:solidFill>
              </a:endParaRPr>
            </a:p>
            <a:p>
              <a:pPr marL="266700" lvl="4" indent="-88900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105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105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50" b="1" baseline="0" dirty="0">
                  <a:solidFill>
                    <a:schemeClr val="bg1"/>
                  </a:solidFill>
                </a:rPr>
                <a:t>10</a:t>
              </a:r>
              <a:r>
                <a:rPr lang="ru-RU" sz="1050" b="1" baseline="0" dirty="0">
                  <a:solidFill>
                    <a:schemeClr val="bg1"/>
                  </a:solidFill>
                </a:rPr>
                <a:t> </a:t>
              </a:r>
              <a:r>
                <a:rPr lang="ru-RU" sz="1050" b="1" baseline="0" dirty="0" err="1">
                  <a:solidFill>
                    <a:schemeClr val="bg1"/>
                  </a:solidFill>
                </a:rPr>
                <a:t>пт</a:t>
              </a:r>
              <a:endParaRPr lang="ru-RU" sz="1050" b="1" baseline="0" dirty="0">
                <a:solidFill>
                  <a:schemeClr val="bg1"/>
                </a:solidFill>
              </a:endParaRPr>
            </a:p>
            <a:p>
              <a:pPr marL="266700" lvl="4" indent="-88900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105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105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1050" b="1" baseline="0" dirty="0">
                  <a:solidFill>
                    <a:schemeClr val="bg1"/>
                  </a:solidFill>
                </a:rPr>
                <a:t>8</a:t>
              </a:r>
              <a:r>
                <a:rPr lang="ru-RU" sz="1050" b="1" baseline="0" dirty="0">
                  <a:solidFill>
                    <a:schemeClr val="bg1"/>
                  </a:solidFill>
                </a:rPr>
                <a:t> </a:t>
              </a:r>
              <a:r>
                <a:rPr lang="ru-RU" sz="1050" b="1" baseline="0" dirty="0" err="1">
                  <a:solidFill>
                    <a:schemeClr val="bg1"/>
                  </a:solidFill>
                </a:rPr>
                <a:t>пт</a:t>
              </a:r>
              <a:endParaRPr lang="ru-RU" sz="1050" b="1" baseline="0" dirty="0">
                <a:solidFill>
                  <a:schemeClr val="bg1"/>
                </a:solidFill>
              </a:endParaRPr>
            </a:p>
            <a:p>
              <a:pPr marL="266700" lvl="4" indent="-88900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105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1050" baseline="0" dirty="0">
                  <a:solidFill>
                    <a:schemeClr val="bg1"/>
                  </a:solidFill>
                </a:rPr>
              </a:br>
              <a:r>
                <a:rPr lang="ru-RU" sz="105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1050" b="1" baseline="0" dirty="0">
                <a:solidFill>
                  <a:schemeClr val="bg1"/>
                </a:solidFill>
              </a:endParaRPr>
            </a:p>
            <a:p>
              <a:pPr marL="182563" indent="-182563" algn="l" defTabSz="779163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105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700" lvl="1" indent="-79375" algn="l" defTabSz="779163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700" lvl="1" indent="-79375" algn="l" defTabSz="779163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105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700" lvl="1" indent="-79375" algn="l" defTabSz="779163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5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700" marR="0" lvl="1" indent="-84138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5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1050" baseline="0" dirty="0">
                  <a:solidFill>
                    <a:schemeClr val="bg1"/>
                  </a:solidFill>
                </a:rPr>
                <a:t> </a:t>
              </a:r>
              <a:br>
                <a:rPr lang="ru-RU" sz="1050" baseline="0" dirty="0">
                  <a:solidFill>
                    <a:schemeClr val="bg1"/>
                  </a:solidFill>
                </a:rPr>
              </a:br>
              <a:r>
                <a:rPr lang="ru-RU" sz="105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1050" dirty="0">
                  <a:solidFill>
                    <a:schemeClr val="bg1"/>
                  </a:solidFill>
                </a:rPr>
                <a:t>в</a:t>
              </a:r>
              <a:r>
                <a:rPr lang="ru-RU" sz="105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105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105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700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bg1"/>
                  </a:solidFill>
                </a:rPr>
                <a:t>Нельзя</a:t>
              </a:r>
              <a:r>
                <a:rPr lang="ru-RU" sz="105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700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105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1050" baseline="0" dirty="0">
                  <a:solidFill>
                    <a:schemeClr val="bg1"/>
                  </a:solidFill>
                </a:rPr>
                <a:t> – </a:t>
              </a:r>
              <a:br>
                <a:rPr lang="ru-RU" sz="1050" baseline="0" dirty="0">
                  <a:solidFill>
                    <a:schemeClr val="bg1"/>
                  </a:solidFill>
                </a:rPr>
              </a:br>
              <a:r>
                <a:rPr lang="ru-RU" sz="105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1050" b="1" dirty="0">
                <a:solidFill>
                  <a:schemeClr val="bg1"/>
                </a:solidFill>
              </a:endParaRPr>
            </a:p>
            <a:p>
              <a:pPr marL="182563" marR="0" lvl="0" indent="-182563" algn="l" defTabSz="779163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700" marR="0" lvl="1" indent="-92075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105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5" marR="0" lvl="1" indent="-182563" algn="l" defTabSz="77916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105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sp>
          <p:nvSpPr>
            <p:cNvPr id="44" name="Прямоугольник 43"/>
            <p:cNvSpPr/>
            <p:nvPr userDrawn="1"/>
          </p:nvSpPr>
          <p:spPr>
            <a:xfrm>
              <a:off x="10063795" y="91982"/>
              <a:ext cx="508348" cy="588276"/>
            </a:xfrm>
            <a:prstGeom prst="rect">
              <a:avLst/>
            </a:prstGeom>
            <a:solidFill>
              <a:srgbClr val="008C95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1000" dirty="0">
                  <a:solidFill>
                    <a:srgbClr val="FFFFFF"/>
                  </a:solidFill>
                </a:rPr>
                <a:t>140</a:t>
              </a:r>
              <a:endParaRPr lang="ru-RU" sz="10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</a:t>
              </a:r>
              <a:r>
                <a:rPr lang="en-US" sz="1000" dirty="0">
                  <a:solidFill>
                    <a:srgbClr val="FFFFFF"/>
                  </a:solidFill>
                </a:rPr>
                <a:t>49</a:t>
              </a:r>
              <a:endParaRPr lang="ru-RU" sz="10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 userDrawn="1"/>
          </p:nvSpPr>
          <p:spPr>
            <a:xfrm>
              <a:off x="10063795" y="1268534"/>
              <a:ext cx="508348" cy="58988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10063795" y="680259"/>
              <a:ext cx="508348" cy="588278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10063795" y="4533728"/>
              <a:ext cx="508348" cy="588278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10063795" y="2185414"/>
              <a:ext cx="508348" cy="58988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9" name="Прямоугольник 48"/>
            <p:cNvSpPr/>
            <p:nvPr userDrawn="1"/>
          </p:nvSpPr>
          <p:spPr>
            <a:xfrm>
              <a:off x="10063795" y="2768881"/>
              <a:ext cx="508348" cy="588276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10063795" y="3357164"/>
              <a:ext cx="508348" cy="588278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10063795" y="3945436"/>
              <a:ext cx="508348" cy="588276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10063795" y="5121989"/>
              <a:ext cx="508348" cy="58988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10063795" y="5711869"/>
              <a:ext cx="508348" cy="58988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10063798" y="1268534"/>
              <a:ext cx="508348" cy="589880"/>
            </a:xfrm>
            <a:prstGeom prst="rect">
              <a:avLst/>
            </a:prstGeom>
            <a:solidFill>
              <a:srgbClr val="D0D0D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10063798" y="680259"/>
              <a:ext cx="508348" cy="588278"/>
            </a:xfrm>
            <a:prstGeom prst="rect">
              <a:avLst/>
            </a:prstGeom>
            <a:solidFill>
              <a:srgbClr val="99CC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10063798" y="4533732"/>
              <a:ext cx="508348" cy="588278"/>
            </a:xfrm>
            <a:prstGeom prst="rect">
              <a:avLst/>
            </a:prstGeom>
            <a:solidFill>
              <a:srgbClr val="E5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10063798" y="2185414"/>
              <a:ext cx="508348" cy="589880"/>
            </a:xfrm>
            <a:prstGeom prst="rect">
              <a:avLst/>
            </a:prstGeom>
            <a:solidFill>
              <a:srgbClr val="F2F2F2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8" name="Прямоугольник 57"/>
            <p:cNvSpPr/>
            <p:nvPr userDrawn="1"/>
          </p:nvSpPr>
          <p:spPr>
            <a:xfrm>
              <a:off x="10063798" y="2768881"/>
              <a:ext cx="508348" cy="588276"/>
            </a:xfrm>
            <a:prstGeom prst="rect">
              <a:avLst/>
            </a:prstGeom>
            <a:solidFill>
              <a:srgbClr val="B2D2D8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10063798" y="3357164"/>
              <a:ext cx="508348" cy="588278"/>
            </a:xfrm>
            <a:prstGeom prst="rect">
              <a:avLst/>
            </a:prstGeom>
            <a:solidFill>
              <a:srgbClr val="FFC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10063798" y="3945436"/>
              <a:ext cx="508348" cy="588276"/>
            </a:xfrm>
            <a:prstGeom prst="rect">
              <a:avLst/>
            </a:prstGeom>
            <a:solidFill>
              <a:srgbClr val="C0000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1" name="Прямоугольник 60"/>
            <p:cNvSpPr/>
            <p:nvPr userDrawn="1"/>
          </p:nvSpPr>
          <p:spPr>
            <a:xfrm>
              <a:off x="10063798" y="5121989"/>
              <a:ext cx="508348" cy="589880"/>
            </a:xfrm>
            <a:prstGeom prst="rect">
              <a:avLst/>
            </a:prstGeom>
            <a:solidFill>
              <a:srgbClr val="808080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10063798" y="5711869"/>
              <a:ext cx="508348" cy="589880"/>
            </a:xfrm>
            <a:prstGeom prst="rect">
              <a:avLst/>
            </a:prstGeom>
            <a:solidFill>
              <a:srgbClr val="F58A1F"/>
            </a:solidFill>
            <a:ln w="3175">
              <a:solidFill>
                <a:schemeClr val="accent1">
                  <a:lumMod val="75000"/>
                </a:schemeClr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31</a:t>
              </a:r>
            </a:p>
          </p:txBody>
        </p:sp>
        <p:cxnSp>
          <p:nvCxnSpPr>
            <p:cNvPr id="63" name="Прямая соединительная линия 62"/>
            <p:cNvCxnSpPr/>
            <p:nvPr userDrawn="1"/>
          </p:nvCxnSpPr>
          <p:spPr bwMode="auto">
            <a:xfrm>
              <a:off x="10728153" y="624618"/>
              <a:ext cx="2923553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24348892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88673" y="463845"/>
            <a:ext cx="6010918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670978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88672" y="463845"/>
            <a:ext cx="6026643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325941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88673" y="463845"/>
            <a:ext cx="6042366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604000" y="1"/>
            <a:ext cx="3302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2301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604000" y="1509185"/>
            <a:ext cx="3302000" cy="45593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243048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604000" y="1509185"/>
            <a:ext cx="3302000" cy="45593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033960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604000" y="1509185"/>
            <a:ext cx="3302000" cy="45593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0748566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953000" y="1509185"/>
            <a:ext cx="4953000" cy="45593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05094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953000" y="1509185"/>
            <a:ext cx="4953000" cy="45593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24269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953000" y="1509185"/>
            <a:ext cx="4953000" cy="45593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4673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88672" y="463845"/>
            <a:ext cx="4407090" cy="896836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953000" y="1"/>
            <a:ext cx="4953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33086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53545807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48571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88672" y="463845"/>
            <a:ext cx="4375643" cy="896836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953000" y="1"/>
            <a:ext cx="4953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99717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88673" y="463845"/>
            <a:ext cx="4344195" cy="896836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953000" y="1"/>
            <a:ext cx="4953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509237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11127" y="463845"/>
            <a:ext cx="6006200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3302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86666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00121" y="463845"/>
            <a:ext cx="6017207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3302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39635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11127" y="463845"/>
            <a:ext cx="6006200" cy="896836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3302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403919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4953000" cy="6068484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24577" y="463845"/>
            <a:ext cx="4366207" cy="8968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6339948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4953000" cy="6068484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88674" y="463845"/>
            <a:ext cx="4355200" cy="896836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4441595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60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270" imgH="270" progId="TCLayout.ActiveDocument.1">
                  <p:embed/>
                </p:oleObj>
              </mc:Choice>
              <mc:Fallback>
                <p:oleObj name="Слайд think-cell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601" y="1605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1"/>
            <a:ext cx="4953000" cy="6068484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905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88674" y="463844"/>
            <a:ext cx="4371710" cy="897467"/>
          </a:xfrm>
        </p:spPr>
        <p:txBody>
          <a:bodyPr/>
          <a:lstStyle>
            <a:lvl1pPr>
              <a:defRPr sz="2167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9474855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721" y="2118"/>
          <a:ext cx="1720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3" imgW="530" imgH="531" progId="TCLayout.ActiveDocument.1">
                  <p:embed/>
                </p:oleObj>
              </mc:Choice>
              <mc:Fallback>
                <p:oleObj name="Слайд think-cell" r:id="rId3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20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1294" y="395460"/>
            <a:ext cx="7454685" cy="910587"/>
          </a:xfrm>
        </p:spPr>
        <p:txBody>
          <a:bodyPr vert="horz"/>
          <a:lstStyle>
            <a:lvl1pPr>
              <a:lnSpc>
                <a:spcPct val="85000"/>
              </a:lnSpc>
              <a:defRPr sz="585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 userDrawn="1"/>
        </p:nvSpPr>
        <p:spPr bwMode="auto">
          <a:xfrm>
            <a:off x="8045698" y="2284200"/>
            <a:ext cx="1859324" cy="22896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9060" tIns="49530" rIns="99060" bIns="4953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9057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9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8045698" y="0"/>
            <a:ext cx="1859324" cy="22896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9057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9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 userDrawn="1"/>
        </p:nvGrpSpPr>
        <p:grpSpPr>
          <a:xfrm>
            <a:off x="8045698" y="4568400"/>
            <a:ext cx="1860302" cy="22896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74292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2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4292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2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4292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2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rgbClr val="003D4C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74292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62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28379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-ПАО «СИБУР Холдинг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130801" y="1991788"/>
            <a:ext cx="5582235" cy="1426895"/>
          </a:xfrm>
        </p:spPr>
        <p:txBody>
          <a:bodyPr tIns="0" rIns="0" bIns="0"/>
          <a:lstStyle>
            <a:lvl1pPr algn="l">
              <a:defRPr sz="24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4130819" y="4170873"/>
            <a:ext cx="5582523" cy="935966"/>
          </a:xfrm>
        </p:spPr>
        <p:txBody>
          <a:bodyPr tIns="0" rIns="0" bIns="0"/>
          <a:lstStyle>
            <a:lvl1pPr marL="0" indent="0" algn="l">
              <a:buNone/>
              <a:defRPr sz="16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Фамилия Имя Отчество</a:t>
            </a:r>
          </a:p>
          <a:p>
            <a:r>
              <a:rPr lang="ru-RU" dirty="0"/>
              <a:t>Должность, подразделение/функция, </a:t>
            </a:r>
            <a:br>
              <a:rPr lang="ru-RU" dirty="0"/>
            </a:br>
            <a:r>
              <a:rPr lang="ru-RU" dirty="0"/>
              <a:t>название организации </a:t>
            </a:r>
          </a:p>
        </p:txBody>
      </p:sp>
      <p:pic>
        <p:nvPicPr>
          <p:cNvPr id="7" name="Изображение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8126" y="1034091"/>
            <a:ext cx="3456989" cy="465934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30839" y="446450"/>
            <a:ext cx="1644322" cy="310743"/>
          </a:xfrm>
          <a:prstGeom prst="rect">
            <a:avLst/>
          </a:prstGeom>
        </p:spPr>
      </p:pic>
      <p:sp>
        <p:nvSpPr>
          <p:cNvPr id="14" name="Текст 13"/>
          <p:cNvSpPr>
            <a:spLocks noGrp="1"/>
          </p:cNvSpPr>
          <p:nvPr>
            <p:ph type="body" sz="quarter" idx="19" hasCustomPrompt="1"/>
          </p:nvPr>
        </p:nvSpPr>
        <p:spPr>
          <a:xfrm>
            <a:off x="4130839" y="5271294"/>
            <a:ext cx="5575135" cy="582613"/>
          </a:xfrm>
        </p:spPr>
        <p:txBody>
          <a:bodyPr/>
          <a:lstStyle>
            <a:lvl1pPr>
              <a:defRPr sz="12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050"/>
            </a:lvl4pPr>
            <a:lvl5pPr>
              <a:defRPr sz="1050"/>
            </a:lvl5pPr>
          </a:lstStyle>
          <a:p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1 января 2018 г.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008036" y="6022681"/>
            <a:ext cx="238366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500" b="1" dirty="0">
                <a:solidFill>
                  <a:schemeClr val="accent1"/>
                </a:solidFill>
              </a:rPr>
              <a:t>ПАО «СИБУР Холдинг»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 bwMode="auto">
          <a:xfrm>
            <a:off x="0" y="6189205"/>
            <a:ext cx="4011855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Прямая соединительная линия 20"/>
          <p:cNvCxnSpPr>
            <a:endCxn id="18" idx="3"/>
          </p:cNvCxnSpPr>
          <p:nvPr/>
        </p:nvCxnSpPr>
        <p:spPr bwMode="auto">
          <a:xfrm flipH="1">
            <a:off x="6391702" y="6184264"/>
            <a:ext cx="3514298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2210966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235225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680A53-599C-4607-8875-050A3D3F98E2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65129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0B39A3-D9CA-4AD0-B579-5E5BA86B216A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83463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5749" y="923026"/>
            <a:ext cx="9341329" cy="533172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338707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9562" y="2488255"/>
            <a:ext cx="9221638" cy="1362075"/>
          </a:xfr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010EC1-61F4-483B-9A98-4343C4E382C0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4039235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5750" y="938844"/>
            <a:ext cx="4614054" cy="5315906"/>
          </a:xfrm>
        </p:spPr>
        <p:txBody>
          <a:bodyPr/>
          <a:lstStyle>
            <a:lvl1pPr>
              <a:defRPr sz="1800"/>
            </a:lvl1pPr>
            <a:lvl2pPr marL="534988" indent="-190500">
              <a:defRPr sz="1600"/>
            </a:lvl2pPr>
            <a:lvl3pPr marL="896938" indent="-203200">
              <a:defRPr sz="1500"/>
            </a:lvl3pPr>
            <a:lvl4pPr marL="1165225" indent="-176213">
              <a:tabLst>
                <a:tab pos="1165225" algn="l"/>
              </a:tabLst>
              <a:defRPr sz="1200" b="0"/>
            </a:lvl4pPr>
            <a:lvl5pPr marL="1431925" indent="-149225">
              <a:defRPr sz="12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6145" y="938844"/>
            <a:ext cx="4622680" cy="5315906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2032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5225" indent="-176213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1492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28545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00" y="2174874"/>
            <a:ext cx="437687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5" y="2174874"/>
            <a:ext cx="4378590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3C27D-D740-4248-8503-039F24894101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450748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006" cy="116205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1123950"/>
            <a:ext cx="5537729" cy="50022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006" cy="4691063"/>
          </a:xfrm>
        </p:spPr>
        <p:txBody>
          <a:bodyPr/>
          <a:lstStyle>
            <a:lvl1pPr marL="0" indent="0">
              <a:buNone/>
              <a:defRPr sz="12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51FCF-D574-40C1-A52D-4F578CCEA974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77932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19" indent="0">
              <a:buNone/>
              <a:defRPr sz="2800"/>
            </a:lvl2pPr>
            <a:lvl3pPr marL="914239" indent="0">
              <a:buNone/>
              <a:defRPr sz="2400"/>
            </a:lvl3pPr>
            <a:lvl4pPr marL="1371358" indent="0">
              <a:buNone/>
              <a:defRPr sz="2000"/>
            </a:lvl4pPr>
            <a:lvl5pPr marL="1828477" indent="0">
              <a:buNone/>
              <a:defRPr sz="2000"/>
            </a:lvl5pPr>
            <a:lvl6pPr marL="2285596" indent="0">
              <a:buNone/>
              <a:defRPr sz="2000"/>
            </a:lvl6pPr>
            <a:lvl7pPr marL="2742716" indent="0">
              <a:buNone/>
              <a:defRPr sz="2000"/>
            </a:lvl7pPr>
            <a:lvl8pPr marL="3199835" indent="0">
              <a:buNone/>
              <a:defRPr sz="2000"/>
            </a:lvl8pPr>
            <a:lvl9pPr marL="3656954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6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4E7103-7DDC-4611-8B84-C967EB351101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32828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рилож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9" name="Текст 18"/>
          <p:cNvSpPr>
            <a:spLocks noGrp="1"/>
          </p:cNvSpPr>
          <p:nvPr>
            <p:ph type="body" sz="quarter" idx="11"/>
          </p:nvPr>
        </p:nvSpPr>
        <p:spPr>
          <a:xfrm>
            <a:off x="663305" y="1800535"/>
            <a:ext cx="3197734" cy="290195"/>
          </a:xfrm>
        </p:spPr>
        <p:txBody>
          <a:bodyPr/>
          <a:lstStyle>
            <a:lvl1pPr>
              <a:defRPr kumimoji="0" lang="ru-RU" sz="2400" b="0" i="0" u="none" strike="noStrike" kern="1200" cap="none" spc="0" normalizeH="0" baseline="0" dirty="0" smtClean="0">
                <a:ln>
                  <a:noFill/>
                </a:ln>
                <a:solidFill>
                  <a:srgbClr val="008080"/>
                </a:solidFill>
                <a:effectLst/>
                <a:uLnTx/>
                <a:uFillTx/>
                <a:latin typeface="Arial"/>
                <a:ea typeface="+mj-ea"/>
                <a:cs typeface="+mj-cs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Прямая соединительная линия 8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2" name="Прямая соединительная линия 11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4" name="Прямая соединительная линия 13"/>
          <p:cNvCxnSpPr>
            <a:cxnSpLocks/>
          </p:cNvCxnSpPr>
          <p:nvPr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5" name="Прямая соединительная линия 14"/>
          <p:cNvCxnSpPr>
            <a:cxnSpLocks/>
          </p:cNvCxnSpPr>
          <p:nvPr userDrawn="1"/>
        </p:nvCxnSpPr>
        <p:spPr bwMode="auto">
          <a:xfrm>
            <a:off x="683926" y="2174550"/>
            <a:ext cx="2119658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6" name="Прямая соединительная линия 15"/>
          <p:cNvCxnSpPr>
            <a:cxnSpLocks/>
          </p:cNvCxnSpPr>
          <p:nvPr userDrawn="1"/>
        </p:nvCxnSpPr>
        <p:spPr bwMode="auto">
          <a:xfrm>
            <a:off x="672432" y="2174550"/>
            <a:ext cx="2891427" cy="0"/>
          </a:xfrm>
          <a:prstGeom prst="line">
            <a:avLst/>
          </a:prstGeom>
          <a:solidFill>
            <a:srgbClr val="008080"/>
          </a:solidFill>
          <a:ln w="12700" cap="flat" cmpd="sng" algn="ctr">
            <a:solidFill>
              <a:srgbClr val="00808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" name="Дата 1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fld id="{3F7CA5A4-0651-4E6B-A89C-32D303C06AB9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49062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1" name="Прямая соединительная линия 1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223781" y="1146143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1223781" y="3045905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1223781" y="4811682"/>
            <a:ext cx="1441781" cy="1441781"/>
          </a:xfrm>
          <a:prstGeom prst="ellipse">
            <a:avLst/>
          </a:prstGeom>
          <a:ln w="38100">
            <a:solidFill>
              <a:schemeClr val="accent5">
                <a:lumMod val="90000"/>
              </a:schemeClr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2824667" y="127322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2824667" y="152468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1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2824667" y="312488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2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2824667" y="337634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sp>
        <p:nvSpPr>
          <p:cNvPr id="23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2824667" y="4946066"/>
            <a:ext cx="3981571" cy="209779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Иванов Иван Иванович</a:t>
            </a:r>
          </a:p>
        </p:txBody>
      </p:sp>
      <p:sp>
        <p:nvSpPr>
          <p:cNvPr id="24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2824667" y="5197526"/>
            <a:ext cx="3981571" cy="1120528"/>
          </a:xfrm>
        </p:spPr>
        <p:txBody>
          <a:bodyPr/>
          <a:lstStyle>
            <a:lvl1pPr>
              <a:defRPr lang="ru-RU" sz="105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Должность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0" name="Прямая соединительная линия 1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5" name="Прямая соединительная линия 24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Прямая соединительная линия 25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7" name="Прямая соединительная линия 26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8" name="Прямая соединительная линия 27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 userDrawn="1"/>
        </p:nvCxnSpPr>
        <p:spPr bwMode="auto">
          <a:xfrm>
            <a:off x="2802860" y="1497761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2802860" y="5148145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2802860" y="3343814"/>
            <a:ext cx="5050588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558B2A62-AA01-42C5-992E-DD085FD926F1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150182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9556171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285749" y="923026"/>
            <a:ext cx="9341329" cy="533172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910ED7-73CC-4BAB-A075-7E35825C4F80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7635382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cxnSp>
        <p:nvCxnSpPr>
          <p:cNvPr id="9" name="Прямая соединительная линия 8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4" name="Рисунок 13"/>
          <p:cNvSpPr>
            <a:spLocks noGrp="1"/>
          </p:cNvSpPr>
          <p:nvPr>
            <p:ph type="pic" sz="quarter" idx="11" hasCustomPrompt="1"/>
          </p:nvPr>
        </p:nvSpPr>
        <p:spPr>
          <a:xfrm>
            <a:off x="1112087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3"/>
          <p:cNvSpPr>
            <a:spLocks noGrp="1"/>
          </p:cNvSpPr>
          <p:nvPr>
            <p:ph type="pic" sz="quarter" idx="12" hasCustomPrompt="1"/>
          </p:nvPr>
        </p:nvSpPr>
        <p:spPr>
          <a:xfrm>
            <a:off x="388732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6" name="Рисунок 13"/>
          <p:cNvSpPr>
            <a:spLocks noGrp="1"/>
          </p:cNvSpPr>
          <p:nvPr>
            <p:ph type="pic" sz="quarter" idx="13" hasCustomPrompt="1"/>
          </p:nvPr>
        </p:nvSpPr>
        <p:spPr>
          <a:xfrm>
            <a:off x="6749273" y="1524988"/>
            <a:ext cx="2399313" cy="2399313"/>
          </a:xfrm>
          <a:prstGeom prst="ellipse">
            <a:avLst/>
          </a:prstGeom>
          <a:ln w="38100">
            <a:solidFill>
              <a:schemeClr val="accent5"/>
            </a:solidFill>
          </a:ln>
        </p:spPr>
        <p:txBody>
          <a:bodyPr anchor="ctr"/>
          <a:lstStyle>
            <a:lvl1pPr algn="ctr">
              <a:defRPr sz="11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8" name="Текст 17"/>
          <p:cNvSpPr>
            <a:spLocks noGrp="1"/>
          </p:cNvSpPr>
          <p:nvPr>
            <p:ph type="body" sz="quarter" idx="14" hasCustomPrompt="1"/>
          </p:nvPr>
        </p:nvSpPr>
        <p:spPr>
          <a:xfrm>
            <a:off x="1133893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19" name="Текст 17"/>
          <p:cNvSpPr>
            <a:spLocks noGrp="1"/>
          </p:cNvSpPr>
          <p:nvPr>
            <p:ph type="body" sz="quarter" idx="15" hasCustomPrompt="1"/>
          </p:nvPr>
        </p:nvSpPr>
        <p:spPr>
          <a:xfrm>
            <a:off x="1133893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0" name="Текст 17"/>
          <p:cNvSpPr>
            <a:spLocks noGrp="1"/>
          </p:cNvSpPr>
          <p:nvPr>
            <p:ph type="body" sz="quarter" idx="16" hasCustomPrompt="1"/>
          </p:nvPr>
        </p:nvSpPr>
        <p:spPr>
          <a:xfrm>
            <a:off x="3816710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5" name="Текст 17"/>
          <p:cNvSpPr>
            <a:spLocks noGrp="1"/>
          </p:cNvSpPr>
          <p:nvPr>
            <p:ph type="body" sz="quarter" idx="17" hasCustomPrompt="1"/>
          </p:nvPr>
        </p:nvSpPr>
        <p:spPr>
          <a:xfrm>
            <a:off x="3816710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7" name="Текст 17"/>
          <p:cNvSpPr>
            <a:spLocks noGrp="1"/>
          </p:cNvSpPr>
          <p:nvPr>
            <p:ph type="body" sz="quarter" idx="18" hasCustomPrompt="1"/>
          </p:nvPr>
        </p:nvSpPr>
        <p:spPr>
          <a:xfrm>
            <a:off x="6749692" y="4292471"/>
            <a:ext cx="2503488" cy="254973"/>
          </a:xfrm>
        </p:spPr>
        <p:txBody>
          <a:bodyPr/>
          <a:lstStyle>
            <a:lvl1pPr>
              <a:defRPr lang="ru-RU" sz="1200" b="1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Пример </a:t>
            </a:r>
            <a:r>
              <a:rPr lang="ru-RU" dirty="0" err="1"/>
              <a:t>назавния</a:t>
            </a:r>
            <a:endParaRPr lang="ru-RU" dirty="0"/>
          </a:p>
        </p:txBody>
      </p:sp>
      <p:sp>
        <p:nvSpPr>
          <p:cNvPr id="28" name="Текст 17"/>
          <p:cNvSpPr>
            <a:spLocks noGrp="1"/>
          </p:cNvSpPr>
          <p:nvPr>
            <p:ph type="body" sz="quarter" idx="19" hasCustomPrompt="1"/>
          </p:nvPr>
        </p:nvSpPr>
        <p:spPr>
          <a:xfrm>
            <a:off x="6749692" y="4543931"/>
            <a:ext cx="2503488" cy="1361928"/>
          </a:xfrm>
        </p:spPr>
        <p:txBody>
          <a:bodyPr/>
          <a:lstStyle>
            <a:lvl1pPr>
              <a:defRPr lang="ru-RU" sz="1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Описание</a:t>
            </a:r>
          </a:p>
        </p:txBody>
      </p:sp>
      <p:cxnSp>
        <p:nvCxnSpPr>
          <p:cNvPr id="21" name="Прямая соединительная линия 2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Прямая соединительная линия 2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9" name="Прямая соединительная линия 28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0" name="Прямая соединительная линия 29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1" name="Прямая соединительная линия 30"/>
          <p:cNvCxnSpPr/>
          <p:nvPr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2" name="Прямая соединительная линия 31"/>
          <p:cNvCxnSpPr/>
          <p:nvPr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3" name="Прямая соединительная линия 32"/>
          <p:cNvCxnSpPr/>
          <p:nvPr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4" name="Прямая соединительная линия 33"/>
          <p:cNvCxnSpPr/>
          <p:nvPr userDrawn="1"/>
        </p:nvCxnSpPr>
        <p:spPr bwMode="auto">
          <a:xfrm>
            <a:off x="1112087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5" name="Прямая соединительная линия 34"/>
          <p:cNvCxnSpPr/>
          <p:nvPr userDrawn="1"/>
        </p:nvCxnSpPr>
        <p:spPr bwMode="auto">
          <a:xfrm>
            <a:off x="3794904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36" name="Прямая соединительная линия 35"/>
          <p:cNvCxnSpPr/>
          <p:nvPr userDrawn="1"/>
        </p:nvCxnSpPr>
        <p:spPr bwMode="auto">
          <a:xfrm>
            <a:off x="6727886" y="4232334"/>
            <a:ext cx="252529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3" name="Дата 2"/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fld id="{F5C2B560-C4BD-4790-A04D-9014E365FFFF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3864191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9668D3-485A-4EC7-94A1-48316DB6A481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852916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185750"/>
            <a:ext cx="2228850" cy="594518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86596" y="185750"/>
            <a:ext cx="6430154" cy="594518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Rectangle 42"/>
          <p:cNvSpPr>
            <a:spLocks noGrp="1" noChangeArrowheads="1"/>
          </p:cNvSpPr>
          <p:nvPr>
            <p:ph type="sldNum" sz="quarter" idx="10"/>
          </p:nvPr>
        </p:nvSpPr>
        <p:spPr>
          <a:xfrm rot="5400000">
            <a:off x="9667" y="6405385"/>
            <a:ext cx="406577" cy="311150"/>
          </a:xfrm>
          <a:ln/>
        </p:spPr>
        <p:txBody>
          <a:bodyPr/>
          <a:lstStyle>
            <a:lvl1pPr>
              <a:defRPr/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1"/>
          </p:nvPr>
        </p:nvSpPr>
        <p:spPr>
          <a:xfrm rot="5400000">
            <a:off x="-167128" y="4319045"/>
            <a:ext cx="813998" cy="234231"/>
          </a:xfrm>
        </p:spPr>
        <p:txBody>
          <a:bodyPr/>
          <a:lstStyle/>
          <a:p>
            <a:fld id="{14A0206A-7786-4CA1-9012-F2A726BCF448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2"/>
          </p:nvPr>
        </p:nvSpPr>
        <p:spPr>
          <a:xfrm rot="5400000">
            <a:off x="-1220315" y="1512118"/>
            <a:ext cx="3136900" cy="500702"/>
          </a:xfrm>
        </p:spPr>
        <p:txBody>
          <a:bodyPr/>
          <a:lstStyle/>
          <a:p>
            <a:r>
              <a:rPr lang="ru-RU">
                <a:solidFill>
                  <a:prstClr val="black">
                    <a:lumMod val="85000"/>
                    <a:lumOff val="15000"/>
                  </a:prstClr>
                </a:solidFill>
              </a:rPr>
              <a:t>Название презентации. Мероприятие</a:t>
            </a:r>
          </a:p>
        </p:txBody>
      </p:sp>
      <p:grpSp>
        <p:nvGrpSpPr>
          <p:cNvPr id="9" name="Группа 8"/>
          <p:cNvGrpSpPr/>
          <p:nvPr/>
        </p:nvGrpSpPr>
        <p:grpSpPr>
          <a:xfrm rot="5400000">
            <a:off x="-2423484" y="3959546"/>
            <a:ext cx="5419725" cy="377185"/>
            <a:chOff x="4486275" y="6431621"/>
            <a:chExt cx="5419725" cy="377185"/>
          </a:xfrm>
        </p:grpSpPr>
        <p:pic>
          <p:nvPicPr>
            <p:cNvPr id="7" name="Изображение 1"/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8" name="Прямая соединительная линия 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pic>
        <p:nvPicPr>
          <p:cNvPr id="11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pic>
        <p:nvPicPr>
          <p:cNvPr id="14" name="Изображение 1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369213" y="5501957"/>
            <a:ext cx="1203999" cy="270000"/>
          </a:xfrm>
          <a:prstGeom prst="rect">
            <a:avLst/>
          </a:prstGeom>
        </p:spPr>
      </p:pic>
      <p:grpSp>
        <p:nvGrpSpPr>
          <p:cNvPr id="12" name="Группа 11"/>
          <p:cNvGrpSpPr/>
          <p:nvPr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3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5" name="Прямая соединительная линия 14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grpSp>
        <p:nvGrpSpPr>
          <p:cNvPr id="16" name="Группа 15"/>
          <p:cNvGrpSpPr/>
          <p:nvPr userDrawn="1"/>
        </p:nvGrpSpPr>
        <p:grpSpPr>
          <a:xfrm rot="5400000">
            <a:off x="-2423484" y="3959545"/>
            <a:ext cx="5419725" cy="377185"/>
            <a:chOff x="4486275" y="6431621"/>
            <a:chExt cx="5419725" cy="377185"/>
          </a:xfrm>
        </p:grpSpPr>
        <p:pic>
          <p:nvPicPr>
            <p:cNvPr id="17" name="Изображение 1"/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1827" r="7692" b="61472"/>
            <a:stretch/>
          </p:blipFill>
          <p:spPr>
            <a:xfrm>
              <a:off x="8082957" y="6538806"/>
              <a:ext cx="1203999" cy="270000"/>
            </a:xfrm>
            <a:prstGeom prst="rect">
              <a:avLst/>
            </a:prstGeom>
          </p:spPr>
        </p:pic>
        <p:cxnSp>
          <p:nvCxnSpPr>
            <p:cNvPr id="18" name="Прямая соединительная линия 17"/>
            <p:cNvCxnSpPr/>
            <p:nvPr userDrawn="1"/>
          </p:nvCxnSpPr>
          <p:spPr bwMode="auto">
            <a:xfrm>
              <a:off x="4486275" y="6431621"/>
              <a:ext cx="5419725" cy="0"/>
            </a:xfrm>
            <a:prstGeom prst="line">
              <a:avLst/>
            </a:prstGeom>
            <a:solidFill>
              <a:schemeClr val="accent1"/>
            </a:solidFill>
            <a:ln w="76200" cap="flat" cmpd="sng" algn="ctr">
              <a:gradFill flip="none" rotWithShape="1">
                <a:gsLst>
                  <a:gs pos="0">
                    <a:schemeClr val="accent1">
                      <a:tint val="66000"/>
                      <a:satMod val="160000"/>
                    </a:schemeClr>
                  </a:gs>
                  <a:gs pos="23000">
                    <a:schemeClr val="accent1">
                      <a:tint val="44500"/>
                      <a:satMod val="160000"/>
                    </a:schemeClr>
                  </a:gs>
                  <a:gs pos="79000">
                    <a:schemeClr val="bg1"/>
                  </a:gs>
                </a:gsLst>
                <a:lin ang="108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  <p:extLst>
      <p:ext uri="{BB962C8B-B14F-4D97-AF65-F5344CB8AC3E}">
        <p14:creationId xmlns:p14="http://schemas.microsoft.com/office/powerpoint/2010/main" val="132397789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Изображение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481" y="-128016"/>
            <a:ext cx="10062914" cy="7114032"/>
          </a:xfrm>
          <a:prstGeom prst="rect">
            <a:avLst/>
          </a:prstGeom>
        </p:spPr>
      </p:pic>
      <p:sp>
        <p:nvSpPr>
          <p:cNvPr id="19" name="Text Placeholder 16"/>
          <p:cNvSpPr>
            <a:spLocks noGrp="1"/>
          </p:cNvSpPr>
          <p:nvPr>
            <p:ph type="body" sz="quarter" idx="14"/>
          </p:nvPr>
        </p:nvSpPr>
        <p:spPr>
          <a:xfrm>
            <a:off x="557528" y="4029037"/>
            <a:ext cx="8356468" cy="739576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1002005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SzTx/>
              <a:buFont typeface="Wingdings" charset="0"/>
              <a:buNone/>
              <a:tabLst/>
              <a:defRPr sz="1800" b="1" spc="0" baseline="0">
                <a:solidFill>
                  <a:srgbClr val="FFFFFF"/>
                </a:solidFill>
                <a:latin typeface="+mn-lt"/>
                <a:cs typeface="Arial"/>
              </a:defRPr>
            </a:lvl1pPr>
            <a:lvl2pPr marL="377491" indent="0">
              <a:buNone/>
              <a:defRPr sz="1500">
                <a:latin typeface="Adobe Hebrew"/>
                <a:cs typeface="Adobe Hebrew"/>
              </a:defRPr>
            </a:lvl2pPr>
            <a:lvl3pPr marL="760202" indent="0">
              <a:buNone/>
              <a:defRPr/>
            </a:lvl3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16"/>
          </p:nvPr>
        </p:nvSpPr>
        <p:spPr>
          <a:xfrm>
            <a:off x="557527" y="5594992"/>
            <a:ext cx="6721885" cy="34822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spc="0" baseline="0">
                <a:solidFill>
                  <a:srgbClr val="FFFFFF"/>
                </a:solidFill>
                <a:latin typeface="+mn-lt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22" name="Text Placeholder 16"/>
          <p:cNvSpPr>
            <a:spLocks noGrp="1"/>
          </p:cNvSpPr>
          <p:nvPr>
            <p:ph type="body" sz="quarter" idx="12"/>
          </p:nvPr>
        </p:nvSpPr>
        <p:spPr>
          <a:xfrm>
            <a:off x="557527" y="4836348"/>
            <a:ext cx="6721885" cy="6773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600" b="0" baseline="0">
                <a:solidFill>
                  <a:srgbClr val="FFFFFF"/>
                </a:solidFill>
                <a:latin typeface="+mn-lt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21" name="Text Placeholder 16"/>
          <p:cNvSpPr>
            <a:spLocks noGrp="1"/>
          </p:cNvSpPr>
          <p:nvPr>
            <p:ph type="body" sz="quarter" idx="17"/>
          </p:nvPr>
        </p:nvSpPr>
        <p:spPr>
          <a:xfrm>
            <a:off x="557527" y="6354138"/>
            <a:ext cx="6721885" cy="31370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00" b="0" spc="0" baseline="0">
                <a:solidFill>
                  <a:srgbClr val="008080"/>
                </a:solidFill>
                <a:latin typeface="+mn-lt"/>
                <a:cs typeface="Arial"/>
              </a:defRPr>
            </a:lvl1pPr>
            <a:lvl2pPr>
              <a:defRPr sz="1500">
                <a:latin typeface="Adobe Hebrew"/>
                <a:cs typeface="Adobe Hebrew"/>
              </a:defRPr>
            </a:lvl2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8996740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38250" y="1122363"/>
            <a:ext cx="7429500" cy="2387600"/>
          </a:xfrm>
        </p:spPr>
        <p:txBody>
          <a:bodyPr anchor="b"/>
          <a:lstStyle>
            <a:lvl1pPr algn="ctr">
              <a:defRPr sz="4875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238250" y="3602038"/>
            <a:ext cx="7429500" cy="1655762"/>
          </a:xfrm>
        </p:spPr>
        <p:txBody>
          <a:bodyPr/>
          <a:lstStyle>
            <a:lvl1pPr marL="0" indent="0" algn="ctr">
              <a:buNone/>
              <a:defRPr sz="1950"/>
            </a:lvl1pPr>
            <a:lvl2pPr marL="371475" indent="0" algn="ctr">
              <a:buNone/>
              <a:defRPr sz="1625"/>
            </a:lvl2pPr>
            <a:lvl3pPr marL="742950" indent="0" algn="ctr">
              <a:buNone/>
              <a:defRPr sz="1463"/>
            </a:lvl3pPr>
            <a:lvl4pPr marL="1114425" indent="0" algn="ctr">
              <a:buNone/>
              <a:defRPr sz="1300"/>
            </a:lvl4pPr>
            <a:lvl5pPr marL="1485900" indent="0" algn="ctr">
              <a:buNone/>
              <a:defRPr sz="1300"/>
            </a:lvl5pPr>
            <a:lvl6pPr marL="1857375" indent="0" algn="ctr">
              <a:buNone/>
              <a:defRPr sz="1300"/>
            </a:lvl6pPr>
            <a:lvl7pPr marL="2228850" indent="0" algn="ctr">
              <a:buNone/>
              <a:defRPr sz="1300"/>
            </a:lvl7pPr>
            <a:lvl8pPr marL="2600325" indent="0" algn="ctr">
              <a:buNone/>
              <a:defRPr sz="1300"/>
            </a:lvl8pPr>
            <a:lvl9pPr marL="2971800" indent="0" algn="ctr">
              <a:buNone/>
              <a:defRPr sz="13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2BF76B-A1D5-4C59-8D74-85A631F2F54D}" type="datetimeFigureOut">
              <a:rPr lang="ru-RU" smtClean="0"/>
              <a:t>14.10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72E6C0F-0ABF-4F86-8249-FDB9CF97C6C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41935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85750" y="938844"/>
            <a:ext cx="4614054" cy="5315906"/>
          </a:xfrm>
        </p:spPr>
        <p:txBody>
          <a:bodyPr/>
          <a:lstStyle>
            <a:lvl1pPr>
              <a:defRPr sz="1800"/>
            </a:lvl1pPr>
            <a:lvl2pPr marL="534988" indent="-190500">
              <a:defRPr sz="1600"/>
            </a:lvl2pPr>
            <a:lvl3pPr marL="896938" indent="-203200">
              <a:defRPr sz="1500"/>
            </a:lvl3pPr>
            <a:lvl4pPr marL="1165225" indent="-176213">
              <a:tabLst>
                <a:tab pos="1165225" algn="l"/>
              </a:tabLst>
              <a:defRPr sz="1200" b="0"/>
            </a:lvl4pPr>
            <a:lvl5pPr marL="1431925" indent="-149225">
              <a:defRPr sz="1200" b="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26145" y="938844"/>
            <a:ext cx="4622680" cy="5315906"/>
          </a:xfrm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None/>
              <a:defRPr lang="ru-RU" sz="18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4988" indent="-1905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6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6938" indent="-203200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5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5225" indent="-176213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31925" indent="-149225" algn="l" rtl="0" eaLnBrk="0" fontAlgn="base" hangingPunct="0">
              <a:spcBef>
                <a:spcPct val="20000"/>
              </a:spcBef>
              <a:spcAft>
                <a:spcPct val="0"/>
              </a:spcAft>
              <a:buFont typeface="Wingdings" pitchFamily="2" charset="2"/>
              <a:buChar char="§"/>
              <a:defRPr lang="ru-RU" sz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E85D7B-896F-47B6-A24F-2311C50CCB43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224794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4671" y="1285378"/>
            <a:ext cx="463099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284671" y="1925139"/>
            <a:ext cx="4630995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11716" y="1285378"/>
            <a:ext cx="4632815" cy="63976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457119" indent="0">
              <a:buNone/>
              <a:defRPr sz="2000" b="1"/>
            </a:lvl2pPr>
            <a:lvl3pPr marL="914239" indent="0">
              <a:buNone/>
              <a:defRPr sz="1800" b="1"/>
            </a:lvl3pPr>
            <a:lvl4pPr marL="1371358" indent="0">
              <a:buNone/>
              <a:defRPr sz="1600" b="1"/>
            </a:lvl4pPr>
            <a:lvl5pPr marL="1828477" indent="0">
              <a:buNone/>
              <a:defRPr sz="1600" b="1"/>
            </a:lvl5pPr>
            <a:lvl6pPr marL="2285596" indent="0">
              <a:buNone/>
              <a:defRPr sz="1600" b="1"/>
            </a:lvl6pPr>
            <a:lvl7pPr marL="2742716" indent="0">
              <a:buNone/>
              <a:defRPr sz="1600" b="1"/>
            </a:lvl7pPr>
            <a:lvl8pPr marL="3199835" indent="0">
              <a:buNone/>
              <a:defRPr sz="1600" b="1"/>
            </a:lvl8pPr>
            <a:lvl9pPr marL="3656954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11716" y="1925139"/>
            <a:ext cx="4632815" cy="4079875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3C27D-D740-4248-8503-039F24894101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01881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95531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24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672" y="205467"/>
            <a:ext cx="3259006" cy="1162050"/>
          </a:xfrm>
        </p:spPr>
        <p:txBody>
          <a:bodyPr anchor="t"/>
          <a:lstStyle>
            <a:lvl1pPr algn="l">
              <a:defRPr sz="2400" b="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1123950"/>
            <a:ext cx="5537729" cy="5002214"/>
          </a:xfrm>
        </p:spPr>
        <p:txBody>
          <a:bodyPr/>
          <a:lstStyle>
            <a:lvl1pPr>
              <a:defRPr sz="1800"/>
            </a:lvl1pPr>
            <a:lvl2pPr>
              <a:defRPr sz="1600"/>
            </a:lvl2pPr>
            <a:lvl3pPr>
              <a:defRPr sz="15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84672" y="1435103"/>
            <a:ext cx="3259006" cy="4691063"/>
          </a:xfrm>
        </p:spPr>
        <p:txBody>
          <a:bodyPr/>
          <a:lstStyle>
            <a:lvl1pPr marL="0" indent="0">
              <a:buNone/>
              <a:defRPr sz="1200"/>
            </a:lvl1pPr>
            <a:lvl2pPr marL="457119" indent="0">
              <a:buNone/>
              <a:defRPr sz="1200"/>
            </a:lvl2pPr>
            <a:lvl3pPr marL="914239" indent="0">
              <a:buNone/>
              <a:defRPr sz="1000"/>
            </a:lvl3pPr>
            <a:lvl4pPr marL="1371358" indent="0">
              <a:buNone/>
              <a:defRPr sz="900"/>
            </a:lvl4pPr>
            <a:lvl5pPr marL="1828477" indent="0">
              <a:buNone/>
              <a:defRPr sz="900"/>
            </a:lvl5pPr>
            <a:lvl6pPr marL="2285596" indent="0">
              <a:buNone/>
              <a:defRPr sz="900"/>
            </a:lvl6pPr>
            <a:lvl7pPr marL="2742716" indent="0">
              <a:buNone/>
              <a:defRPr sz="900"/>
            </a:lvl7pPr>
            <a:lvl8pPr marL="3199835" indent="0">
              <a:buNone/>
              <a:defRPr sz="900"/>
            </a:lvl8pPr>
            <a:lvl9pPr marL="3656954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8" name="Дата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251FCF-D574-40C1-A52D-4F578CCEA974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5702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9562" y="2488255"/>
            <a:ext cx="9221638" cy="1362075"/>
          </a:xfrm>
        </p:spPr>
        <p:txBody>
          <a:bodyPr anchor="t"/>
          <a:lstStyle>
            <a:lvl1pPr algn="ctr">
              <a:defRPr sz="2400" b="0" cap="all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010EC1-61F4-483B-9A98-4343C4E382C0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. Мероприятие</a:t>
            </a:r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31118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oleObject" Target="../embeddings/oleObject2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oleObject" Target="../embeddings/oleObject6.bin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tags" Target="../tags/tag9.xml"/><Relationship Id="rId30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tags" Target="../tags/tag34.xml"/><Relationship Id="rId3" Type="http://schemas.openxmlformats.org/officeDocument/2006/relationships/slideLayout" Target="../slideLayouts/slideLayout41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oleObject" Target="../embeddings/oleObject31.bin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48.xml"/><Relationship Id="rId19" Type="http://schemas.openxmlformats.org/officeDocument/2006/relationships/tags" Target="../tags/tag35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oleObject" Target="../embeddings/oleObject3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143612959"/>
              </p:ext>
            </p:ext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84672" y="205467"/>
            <a:ext cx="9384791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5749" y="923026"/>
            <a:ext cx="9383714" cy="533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79045" y="6495571"/>
            <a:ext cx="471821" cy="2081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8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598596296"/>
              </p:ext>
            </p:ext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1"/>
          <p:cNvSpPr>
            <a:spLocks noGrp="1"/>
          </p:cNvSpPr>
          <p:nvPr>
            <p:ph type="dt" sz="half" idx="2"/>
          </p:nvPr>
        </p:nvSpPr>
        <p:spPr>
          <a:xfrm>
            <a:off x="6872038" y="6495572"/>
            <a:ext cx="813998" cy="20812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ru-RU" sz="80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B4F87F4-8537-4974-8D36-4BB680327BA1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287666" y="6495572"/>
            <a:ext cx="6417933" cy="20812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Название презентации. Мероприятие</a:t>
            </a:r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063" y="6495572"/>
            <a:ext cx="966786" cy="182703"/>
          </a:xfrm>
          <a:prstGeom prst="rect">
            <a:avLst/>
          </a:prstGeom>
        </p:spPr>
      </p:pic>
      <p:cxnSp>
        <p:nvCxnSpPr>
          <p:cNvPr id="28" name="Прямая соединительная линия 27"/>
          <p:cNvCxnSpPr/>
          <p:nvPr userDrawn="1"/>
        </p:nvCxnSpPr>
        <p:spPr bwMode="auto">
          <a:xfrm>
            <a:off x="6705599" y="6322084"/>
            <a:ext cx="3200401" cy="0"/>
          </a:xfrm>
          <a:prstGeom prst="line">
            <a:avLst/>
          </a:prstGeom>
          <a:solidFill>
            <a:schemeClr val="accent1"/>
          </a:solidFill>
          <a:ln w="95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5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" name="Группа 4"/>
          <p:cNvGrpSpPr/>
          <p:nvPr userDrawn="1"/>
        </p:nvGrpSpPr>
        <p:grpSpPr>
          <a:xfrm>
            <a:off x="10018075" y="753"/>
            <a:ext cx="508351" cy="6209767"/>
            <a:chOff x="10018075" y="753"/>
            <a:chExt cx="508351" cy="6209767"/>
          </a:xfrm>
        </p:grpSpPr>
        <p:sp>
          <p:nvSpPr>
            <p:cNvPr id="55" name="Прямоугольник 54"/>
            <p:cNvSpPr/>
            <p:nvPr userDrawn="1"/>
          </p:nvSpPr>
          <p:spPr>
            <a:xfrm>
              <a:off x="10018075" y="753"/>
              <a:ext cx="508348" cy="588276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1000" dirty="0">
                  <a:solidFill>
                    <a:srgbClr val="FFFFFF"/>
                  </a:solidFill>
                </a:rPr>
                <a:t>140</a:t>
              </a:r>
              <a:endParaRPr lang="ru-RU" sz="10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</a:t>
              </a:r>
              <a:r>
                <a:rPr lang="en-US" sz="1000" dirty="0">
                  <a:solidFill>
                    <a:srgbClr val="FFFFFF"/>
                  </a:solidFill>
                </a:rPr>
                <a:t>49</a:t>
              </a:r>
              <a:endParaRPr lang="ru-RU" sz="10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10018075" y="1177305"/>
              <a:ext cx="508348" cy="58988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10018075" y="589030"/>
              <a:ext cx="508348" cy="588278"/>
            </a:xfrm>
            <a:prstGeom prst="rect">
              <a:avLst/>
            </a:prstGeom>
            <a:solidFill>
              <a:srgbClr val="99CC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8" name="Прямоугольник 57"/>
            <p:cNvSpPr/>
            <p:nvPr userDrawn="1"/>
          </p:nvSpPr>
          <p:spPr>
            <a:xfrm>
              <a:off x="10018075" y="4442499"/>
              <a:ext cx="508348" cy="588278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10018075" y="2094185"/>
              <a:ext cx="508348" cy="589880"/>
            </a:xfrm>
            <a:prstGeom prst="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10018075" y="2677652"/>
              <a:ext cx="508348" cy="588276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1" name="Прямоугольник 60"/>
            <p:cNvSpPr/>
            <p:nvPr userDrawn="1"/>
          </p:nvSpPr>
          <p:spPr>
            <a:xfrm>
              <a:off x="10018075" y="3265935"/>
              <a:ext cx="508348" cy="588278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10018075" y="3854207"/>
              <a:ext cx="508348" cy="588276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10018075" y="5030760"/>
              <a:ext cx="508348" cy="589880"/>
            </a:xfrm>
            <a:prstGeom prst="rect">
              <a:avLst/>
            </a:prstGeom>
            <a:solidFill>
              <a:srgbClr val="80808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10018075" y="5620640"/>
              <a:ext cx="508348" cy="589880"/>
            </a:xfrm>
            <a:prstGeom prst="rect">
              <a:avLst/>
            </a:prstGeom>
            <a:solidFill>
              <a:srgbClr val="F58A1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31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10018078" y="1177305"/>
              <a:ext cx="508348" cy="58988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8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10018078" y="589030"/>
              <a:ext cx="508348" cy="588278"/>
            </a:xfrm>
            <a:prstGeom prst="rect">
              <a:avLst/>
            </a:prstGeom>
            <a:solidFill>
              <a:srgbClr val="99CC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53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04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10018078" y="4442503"/>
              <a:ext cx="508348" cy="588278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10018078" y="2094185"/>
              <a:ext cx="508348" cy="589880"/>
            </a:xfrm>
            <a:prstGeom prst="rect">
              <a:avLst/>
            </a:prstGeom>
            <a:solidFill>
              <a:srgbClr val="F2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10018078" y="2677652"/>
              <a:ext cx="508348" cy="588276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16</a:t>
              </a: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10018078" y="3265935"/>
              <a:ext cx="508348" cy="588278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10018078" y="3854207"/>
              <a:ext cx="508348" cy="588276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10018078" y="5030760"/>
              <a:ext cx="508348" cy="589880"/>
            </a:xfrm>
            <a:prstGeom prst="rect">
              <a:avLst/>
            </a:prstGeom>
            <a:solidFill>
              <a:srgbClr val="80808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28</a:t>
              </a: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10018078" y="5620640"/>
              <a:ext cx="508348" cy="589880"/>
            </a:xfrm>
            <a:prstGeom prst="rect">
              <a:avLst/>
            </a:prstGeom>
            <a:solidFill>
              <a:srgbClr val="F58A1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/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245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138</a:t>
              </a:r>
            </a:p>
            <a:p>
              <a:pPr algn="ctr" eaLnBrk="1" hangingPunct="1">
                <a:defRPr/>
              </a:pPr>
              <a:r>
                <a:rPr lang="ru-RU" sz="1000" dirty="0">
                  <a:solidFill>
                    <a:srgbClr val="FFFFFF"/>
                  </a:solidFill>
                </a:rPr>
                <a:t>3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7" r:id="rId1"/>
    <p:sldLayoutId id="2147484201" r:id="rId2"/>
    <p:sldLayoutId id="2147484188" r:id="rId3"/>
    <p:sldLayoutId id="2147484189" r:id="rId4"/>
    <p:sldLayoutId id="2147484190" r:id="rId5"/>
    <p:sldLayoutId id="2147484192" r:id="rId6"/>
    <p:sldLayoutId id="2147484193" r:id="rId7"/>
    <p:sldLayoutId id="2147484194" r:id="rId8"/>
    <p:sldLayoutId id="2147484191" r:id="rId9"/>
    <p:sldLayoutId id="2147484196" r:id="rId10"/>
    <p:sldLayoutId id="2147484197" r:id="rId11"/>
    <p:sldLayoutId id="2147484198" r:id="rId12"/>
    <p:sldLayoutId id="2147484199" r:id="rId13"/>
    <p:sldLayoutId id="2147484200" r:id="rId14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5711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23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35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47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4988" indent="-1905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801688" indent="-1079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</a:defRPr>
      </a:lvl3pPr>
      <a:lvl4pPr marL="1165225" indent="-176213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431925" indent="-149225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5pPr>
      <a:lvl6pPr marL="205545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257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9689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6808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572" userDrawn="1">
          <p15:clr>
            <a:srgbClr val="F26B43"/>
          </p15:clr>
        </p15:guide>
        <p15:guide id="2" pos="172" userDrawn="1">
          <p15:clr>
            <a:srgbClr val="F26B43"/>
          </p15:clr>
        </p15:guide>
        <p15:guide id="3" pos="6091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99" y="1601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Слайд think-cell" r:id="rId28" imgW="270" imgH="270" progId="TCLayout.ActiveDocument.1">
                  <p:embed/>
                </p:oleObj>
              </mc:Choice>
              <mc:Fallback>
                <p:oleObj name="Слайд think-cell" r:id="rId2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99" y="1601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7"/>
            </p:custDataLst>
          </p:nvPr>
        </p:nvSpPr>
        <p:spPr bwMode="auto">
          <a:xfrm>
            <a:off x="0" y="1"/>
            <a:ext cx="171979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9056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95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428497" y="205471"/>
            <a:ext cx="9205437" cy="7032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90564"/>
            <a:endParaRPr lang="ru-RU" sz="195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673" y="463845"/>
            <a:ext cx="9128655" cy="89683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93129" y="6347813"/>
            <a:ext cx="345673" cy="2495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67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98400" y="6340605"/>
            <a:ext cx="5760994" cy="267643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67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866003" y="6347813"/>
            <a:ext cx="1038321" cy="260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67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88672" y="1527044"/>
            <a:ext cx="9128656" cy="454144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6" name="Рисунок 55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91838" y="6377659"/>
            <a:ext cx="825489" cy="192000"/>
          </a:xfrm>
          <a:prstGeom prst="rect">
            <a:avLst/>
          </a:prstGeom>
          <a:effectLst/>
        </p:spPr>
      </p:pic>
      <p:grpSp>
        <p:nvGrpSpPr>
          <p:cNvPr id="78" name="Группа 77"/>
          <p:cNvGrpSpPr/>
          <p:nvPr userDrawn="1"/>
        </p:nvGrpSpPr>
        <p:grpSpPr>
          <a:xfrm>
            <a:off x="9860381" y="-56815"/>
            <a:ext cx="713657" cy="6874421"/>
            <a:chOff x="9101894" y="-42611"/>
            <a:chExt cx="658761" cy="5155816"/>
          </a:xfrm>
        </p:grpSpPr>
        <p:sp>
          <p:nvSpPr>
            <p:cNvPr id="79" name="Прямоугольник 78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rgbClr val="FFFFFF"/>
                  </a:solidFill>
                </a:rPr>
                <a:t>14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</a:t>
              </a:r>
              <a:r>
                <a:rPr lang="en-US" sz="758" dirty="0">
                  <a:solidFill>
                    <a:srgbClr val="FFFFFF"/>
                  </a:solidFill>
                </a:rPr>
                <a:t>49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80" name="Прямоугольник 7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81" name="Прямоугольник 8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82" name="Прямоугольник 8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83" name="Прямоугольник 8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84" name="Прямоугольник 8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85" name="Прямоугольник 8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>
                  <a:solidFill>
                    <a:srgbClr val="FFFFFF"/>
                  </a:solidFill>
                </a:rPr>
                <a:t>0,0,0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86" name="Прямоугольник 8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>
                  <a:solidFill>
                    <a:schemeClr val="bg1"/>
                  </a:solidFill>
                </a:rPr>
                <a:t>0</a:t>
              </a:r>
              <a:br>
                <a:rPr lang="en-US" sz="758" dirty="0">
                  <a:solidFill>
                    <a:schemeClr val="bg1"/>
                  </a:solidFill>
                </a:rPr>
              </a:br>
              <a:r>
                <a:rPr lang="en-US" sz="758" dirty="0">
                  <a:solidFill>
                    <a:schemeClr val="bg1"/>
                  </a:solidFill>
                </a:rPr>
                <a:t>61</a:t>
              </a:r>
              <a:br>
                <a:rPr lang="en-US" sz="758" dirty="0">
                  <a:solidFill>
                    <a:schemeClr val="bg1"/>
                  </a:solidFill>
                </a:rPr>
              </a:br>
              <a:r>
                <a:rPr lang="en-US" sz="758" dirty="0">
                  <a:solidFill>
                    <a:schemeClr val="bg1"/>
                  </a:solidFill>
                </a:rPr>
                <a:t>76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87" name="Прямоугольник 8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58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58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58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58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Прямоугольник 8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>
                  <a:solidFill>
                    <a:schemeClr val="bg1"/>
                  </a:solidFill>
                </a:rPr>
                <a:t>45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chemeClr val="bg1"/>
                  </a:solidFill>
                </a:rPr>
                <a:t>5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chemeClr val="bg1"/>
                  </a:solidFill>
                </a:rPr>
                <a:t>135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 8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rgbClr val="000000"/>
                  </a:solidFill>
                </a:rPr>
                <a:t>255</a:t>
              </a:r>
              <a:endParaRPr lang="ru-RU" sz="758" dirty="0">
                <a:solidFill>
                  <a:srgbClr val="000000"/>
                </a:solidFill>
              </a:endParaRPr>
            </a:p>
          </p:txBody>
        </p:sp>
        <p:sp>
          <p:nvSpPr>
            <p:cNvPr id="90" name="Прямоугольник 8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58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1" name="Прямоугольник 9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>
                  <a:solidFill>
                    <a:schemeClr val="bg1"/>
                  </a:solidFill>
                </a:rPr>
                <a:t>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58" dirty="0">
                  <a:solidFill>
                    <a:schemeClr val="bg1"/>
                  </a:solidFill>
                </a:rPr>
                <a:t>1</a:t>
              </a:r>
              <a:r>
                <a:rPr lang="en-US" sz="758" dirty="0">
                  <a:solidFill>
                    <a:schemeClr val="bg1"/>
                  </a:solidFill>
                </a:rPr>
                <a:t>40</a:t>
              </a:r>
              <a:endParaRPr lang="ru-RU" sz="758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chemeClr val="bg1"/>
                  </a:solidFill>
                </a:rPr>
                <a:t>250</a:t>
              </a:r>
              <a:endParaRPr lang="ru-RU" sz="758" dirty="0">
                <a:solidFill>
                  <a:schemeClr val="bg1"/>
                </a:solidFill>
              </a:endParaRPr>
            </a:p>
          </p:txBody>
        </p:sp>
        <p:sp>
          <p:nvSpPr>
            <p:cNvPr id="92" name="Прямоугольник 9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>
                  <a:solidFill>
                    <a:srgbClr val="FFFFFF"/>
                  </a:solidFill>
                </a:rPr>
                <a:t>25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rgbClr val="FFFFFF"/>
                  </a:solidFill>
                </a:rPr>
                <a:t>120</a:t>
              </a:r>
              <a:endParaRPr lang="ru-RU" sz="758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58" dirty="0">
                  <a:solidFill>
                    <a:srgbClr val="FFFFFF"/>
                  </a:solidFill>
                </a:rPr>
                <a:t>110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93" name="Прямоугольник 9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58" dirty="0">
                  <a:solidFill>
                    <a:srgbClr val="FFFFFF"/>
                  </a:solidFill>
                </a:rPr>
                <a:t>224</a:t>
              </a:r>
              <a:br>
                <a:rPr lang="en-US" sz="758" dirty="0">
                  <a:solidFill>
                    <a:srgbClr val="FFFFFF"/>
                  </a:solidFill>
                </a:rPr>
              </a:br>
              <a:r>
                <a:rPr lang="en-US" sz="758" dirty="0">
                  <a:solidFill>
                    <a:srgbClr val="FFFFFF"/>
                  </a:solidFill>
                </a:rPr>
                <a:t>78</a:t>
              </a:r>
              <a:br>
                <a:rPr lang="en-US" sz="758" dirty="0">
                  <a:solidFill>
                    <a:srgbClr val="FFFFFF"/>
                  </a:solidFill>
                </a:rPr>
              </a:br>
              <a:r>
                <a:rPr lang="en-US" sz="758" dirty="0">
                  <a:solidFill>
                    <a:srgbClr val="FFFFFF"/>
                  </a:solidFill>
                </a:rPr>
                <a:t>57</a:t>
              </a:r>
              <a:endParaRPr lang="ru-RU" sz="758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 userDrawn="1"/>
          </p:nvSpPr>
          <p:spPr>
            <a:xfrm>
              <a:off x="9101894" y="-42611"/>
              <a:ext cx="658761" cy="169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67" dirty="0"/>
                <a:t>Основные</a:t>
              </a:r>
            </a:p>
          </p:txBody>
        </p:sp>
        <p:sp>
          <p:nvSpPr>
            <p:cNvPr id="95" name="TextBox 94"/>
            <p:cNvSpPr txBox="1"/>
            <p:nvPr userDrawn="1"/>
          </p:nvSpPr>
          <p:spPr>
            <a:xfrm>
              <a:off x="9101894" y="2320575"/>
              <a:ext cx="658761" cy="1693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67" dirty="0" err="1"/>
                <a:t>Доп.цвета</a:t>
              </a:r>
              <a:endParaRPr lang="ru-RU" sz="867" dirty="0"/>
            </a:p>
          </p:txBody>
        </p:sp>
        <p:sp>
          <p:nvSpPr>
            <p:cNvPr id="96" name="Прямоугольник 9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>
                  <a:solidFill>
                    <a:srgbClr val="FFFFFF"/>
                  </a:solidFill>
                </a:rPr>
                <a:t>7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97" name="Прямоугольник 9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>
                  <a:solidFill>
                    <a:srgbClr val="FFFFFF"/>
                  </a:solidFill>
                </a:rPr>
                <a:t>5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>
                  <a:solidFill>
                    <a:srgbClr val="FFFFFF"/>
                  </a:solidFill>
                </a:rPr>
                <a:t>30%</a:t>
              </a:r>
              <a:endParaRPr lang="ru-RU" sz="65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50" dirty="0">
                  <a:solidFill>
                    <a:schemeClr val="tx1"/>
                  </a:solidFill>
                </a:rPr>
                <a:t>10%</a:t>
              </a:r>
              <a:endParaRPr lang="ru-RU" sz="65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81394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  <p:sldLayoutId id="2147484205" r:id="rId3"/>
    <p:sldLayoutId id="2147484206" r:id="rId4"/>
    <p:sldLayoutId id="2147484207" r:id="rId5"/>
    <p:sldLayoutId id="2147484208" r:id="rId6"/>
    <p:sldLayoutId id="2147484209" r:id="rId7"/>
    <p:sldLayoutId id="2147484210" r:id="rId8"/>
    <p:sldLayoutId id="2147484211" r:id="rId9"/>
    <p:sldLayoutId id="2147484212" r:id="rId10"/>
    <p:sldLayoutId id="2147484213" r:id="rId11"/>
    <p:sldLayoutId id="2147484214" r:id="rId12"/>
    <p:sldLayoutId id="2147484215" r:id="rId13"/>
    <p:sldLayoutId id="2147484216" r:id="rId14"/>
    <p:sldLayoutId id="2147484217" r:id="rId15"/>
    <p:sldLayoutId id="2147484218" r:id="rId16"/>
    <p:sldLayoutId id="2147484219" r:id="rId17"/>
    <p:sldLayoutId id="2147484220" r:id="rId18"/>
    <p:sldLayoutId id="2147484221" r:id="rId19"/>
    <p:sldLayoutId id="2147484222" r:id="rId20"/>
    <p:sldLayoutId id="2147484223" r:id="rId21"/>
    <p:sldLayoutId id="2147484224" r:id="rId22"/>
    <p:sldLayoutId id="2147484225" r:id="rId23"/>
    <p:sldLayoutId id="2147484226" r:id="rId24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167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21955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843913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26587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68782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50"/>
        </a:spcAft>
        <a:buClr>
          <a:schemeClr val="tx2"/>
        </a:buClr>
        <a:buFont typeface="Arial" panose="020B0604020202020204" pitchFamily="34" charset="0"/>
        <a:buNone/>
        <a:defRPr lang="ru-RU" sz="1517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sz="13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sz="1083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sz="975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50"/>
        </a:spcAft>
        <a:buClr>
          <a:schemeClr val="accent1"/>
        </a:buClr>
        <a:buFont typeface="Arial" panose="020B0604020202020204" pitchFamily="34" charset="0"/>
        <a:buNone/>
        <a:defRPr lang="ru-RU" sz="867" dirty="0">
          <a:solidFill>
            <a:schemeClr val="tx2"/>
          </a:solidFill>
          <a:latin typeface="+mn-lt"/>
        </a:defRPr>
      </a:lvl5pPr>
      <a:lvl6pPr marL="1897340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6pPr>
      <a:lvl7pPr marL="2319298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7pPr>
      <a:lvl8pPr marL="2741254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8pPr>
      <a:lvl9pPr marL="3163210" indent="-29156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83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1pPr>
      <a:lvl2pPr marL="421955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2pPr>
      <a:lvl3pPr marL="84391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3pPr>
      <a:lvl4pPr marL="1265870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4pPr>
      <a:lvl5pPr marL="1687827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5pPr>
      <a:lvl6pPr marL="210978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6pPr>
      <a:lvl7pPr marL="2531743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7pPr>
      <a:lvl8pPr marL="2953697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8pPr>
      <a:lvl9pPr marL="3375654" algn="l" defTabSz="843913" rtl="0" eaLnBrk="1" latinLnBrk="0" hangingPunct="1">
        <a:defRPr sz="16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1594" y="160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4" y="160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84672" y="205467"/>
            <a:ext cx="9351033" cy="703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заголовка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85749" y="923026"/>
            <a:ext cx="9341329" cy="533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91424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127018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79045" y="6392551"/>
            <a:ext cx="471821" cy="31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800" b="0" i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CDBD563E-B0D3-447F-AFD2-910202E21ABB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077457" y="109538"/>
            <a:ext cx="663575" cy="582612"/>
          </a:xfrm>
          <a:prstGeom prst="rect">
            <a:avLst/>
          </a:prstGeom>
          <a:solidFill>
            <a:srgbClr val="008C9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en-US" sz="1100" dirty="0">
                <a:solidFill>
                  <a:srgbClr val="FFFFFF"/>
                </a:solidFill>
              </a:rPr>
              <a:t>140</a:t>
            </a:r>
            <a:endParaRPr lang="ru-RU" sz="1100" dirty="0">
              <a:solidFill>
                <a:srgbClr val="FFFFFF"/>
              </a:solidFill>
            </a:endParaRP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</a:t>
            </a:r>
            <a:r>
              <a:rPr lang="en-US" sz="1100" dirty="0">
                <a:solidFill>
                  <a:srgbClr val="FFFFFF"/>
                </a:solidFill>
              </a:rPr>
              <a:t>49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0077457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0077457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10077457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10077457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10077457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0077457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10077457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10077457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graphicFrame>
        <p:nvGraphicFramePr>
          <p:cNvPr id="17" name="Объект 16" hidden="1"/>
          <p:cNvGraphicFramePr>
            <a:graphicFrameLocks noChangeAspect="1"/>
          </p:cNvGraphicFramePr>
          <p:nvPr>
            <p:custDataLst>
              <p:tags r:id="rId19"/>
            </p:custDataLst>
          </p:nvPr>
        </p:nvGraphicFramePr>
        <p:xfrm>
          <a:off x="1596" y="160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17" name="Объект 1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96" y="160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Прямоугольник 25"/>
          <p:cNvSpPr/>
          <p:nvPr/>
        </p:nvSpPr>
        <p:spPr>
          <a:xfrm>
            <a:off x="10077459" y="1274763"/>
            <a:ext cx="663575" cy="584200"/>
          </a:xfrm>
          <a:prstGeom prst="rect">
            <a:avLst/>
          </a:prstGeom>
          <a:solidFill>
            <a:srgbClr val="D0D0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8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10077459" y="692152"/>
            <a:ext cx="663575" cy="582613"/>
          </a:xfrm>
          <a:prstGeom prst="rect">
            <a:avLst/>
          </a:prstGeom>
          <a:solidFill>
            <a:srgbClr val="99CC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53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04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10077459" y="2182813"/>
            <a:ext cx="663575" cy="584200"/>
          </a:xfrm>
          <a:prstGeom prst="rect">
            <a:avLst/>
          </a:prstGeom>
          <a:solidFill>
            <a:srgbClr val="F2F2F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42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0077459" y="2760663"/>
            <a:ext cx="663575" cy="582612"/>
          </a:xfrm>
          <a:prstGeom prst="rect">
            <a:avLst/>
          </a:prstGeom>
          <a:solidFill>
            <a:srgbClr val="B2D2D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7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16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10077459" y="3343281"/>
            <a:ext cx="663575" cy="582613"/>
          </a:xfrm>
          <a:prstGeom prst="rect">
            <a:avLst/>
          </a:prstGeom>
          <a:solidFill>
            <a:srgbClr val="FFC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25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000000"/>
                </a:solidFill>
              </a:rPr>
              <a:t>0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10077459" y="3925888"/>
            <a:ext cx="663575" cy="582612"/>
          </a:xfrm>
          <a:prstGeom prst="rect">
            <a:avLst/>
          </a:prstGeom>
          <a:solidFill>
            <a:srgbClr val="C0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92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0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10077459" y="5091113"/>
            <a:ext cx="663575" cy="584200"/>
          </a:xfrm>
          <a:prstGeom prst="rect">
            <a:avLst/>
          </a:prstGeom>
          <a:solidFill>
            <a:srgbClr val="80808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28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10077459" y="5675313"/>
            <a:ext cx="663575" cy="584200"/>
          </a:xfrm>
          <a:prstGeom prst="rect">
            <a:avLst/>
          </a:prstGeom>
          <a:solidFill>
            <a:srgbClr val="F58A1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2" rIns="91424" bIns="45712" anchor="ctr"/>
          <a:lstStyle/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245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138</a:t>
            </a:r>
          </a:p>
          <a:p>
            <a:pPr algn="ctr" eaLnBrk="1" hangingPunct="1">
              <a:defRPr/>
            </a:pPr>
            <a:r>
              <a:rPr lang="ru-RU" sz="1100" dirty="0">
                <a:solidFill>
                  <a:srgbClr val="FFFFFF"/>
                </a:solidFill>
              </a:rPr>
              <a:t>31</a:t>
            </a:r>
          </a:p>
        </p:txBody>
      </p:sp>
      <p:sp>
        <p:nvSpPr>
          <p:cNvPr id="2" name="Дата 1"/>
          <p:cNvSpPr>
            <a:spLocks noGrp="1"/>
          </p:cNvSpPr>
          <p:nvPr>
            <p:ph type="dt" sz="half" idx="2"/>
          </p:nvPr>
        </p:nvSpPr>
        <p:spPr>
          <a:xfrm>
            <a:off x="6872038" y="6469470"/>
            <a:ext cx="813998" cy="2342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lang="ru-RU" sz="800" i="0" kern="120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9B4F87F4-8537-4974-8D36-4BB680327BA1}" type="datetime1">
              <a:rPr lang="ru-RU" smtClean="0">
                <a:solidFill>
                  <a:srgbClr val="008C95"/>
                </a:solidFill>
              </a:rPr>
              <a:t>14.10.2022</a:t>
            </a:fld>
            <a:endParaRPr lang="ru-RU" dirty="0">
              <a:solidFill>
                <a:srgbClr val="008C95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3"/>
          </p:nvPr>
        </p:nvSpPr>
        <p:spPr>
          <a:xfrm>
            <a:off x="287666" y="6248070"/>
            <a:ext cx="6417933" cy="455631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lang="ru-RU" sz="800" i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ru-RU"/>
              <a:t>Название презентации. Мероприятие</a:t>
            </a:r>
          </a:p>
        </p:txBody>
      </p:sp>
      <p:pic>
        <p:nvPicPr>
          <p:cNvPr id="35" name="Изображение 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0062" y="6495572"/>
            <a:ext cx="966788" cy="182703"/>
          </a:xfrm>
          <a:prstGeom prst="rect">
            <a:avLst/>
          </a:prstGeom>
        </p:spPr>
      </p:pic>
      <p:cxnSp>
        <p:nvCxnSpPr>
          <p:cNvPr id="36" name="Прямая соединительная линия 35"/>
          <p:cNvCxnSpPr/>
          <p:nvPr/>
        </p:nvCxnSpPr>
        <p:spPr bwMode="auto">
          <a:xfrm>
            <a:off x="6711351" y="6326846"/>
            <a:ext cx="3194649" cy="0"/>
          </a:xfrm>
          <a:prstGeom prst="line">
            <a:avLst/>
          </a:prstGeom>
          <a:solidFill>
            <a:schemeClr val="accent1"/>
          </a:solidFill>
          <a:ln w="47625" cap="flat" cmpd="sng" algn="ctr">
            <a:gradFill flip="none" rotWithShape="1">
              <a:gsLst>
                <a:gs pos="0">
                  <a:schemeClr val="accent1">
                    <a:tint val="66000"/>
                    <a:satMod val="160000"/>
                  </a:schemeClr>
                </a:gs>
                <a:gs pos="68000">
                  <a:schemeClr val="accent1">
                    <a:tint val="44500"/>
                    <a:satMod val="160000"/>
                  </a:schemeClr>
                </a:gs>
                <a:gs pos="100000">
                  <a:schemeClr val="bg1"/>
                </a:gs>
              </a:gsLst>
              <a:lin ang="108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41625516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8" r:id="rId1"/>
    <p:sldLayoutId id="2147484229" r:id="rId2"/>
    <p:sldLayoutId id="2147484230" r:id="rId3"/>
    <p:sldLayoutId id="2147484231" r:id="rId4"/>
    <p:sldLayoutId id="2147484232" r:id="rId5"/>
    <p:sldLayoutId id="2147484233" r:id="rId6"/>
    <p:sldLayoutId id="2147484234" r:id="rId7"/>
    <p:sldLayoutId id="2147484235" r:id="rId8"/>
    <p:sldLayoutId id="2147484236" r:id="rId9"/>
    <p:sldLayoutId id="2147484237" r:id="rId10"/>
    <p:sldLayoutId id="2147484238" r:id="rId11"/>
    <p:sldLayoutId id="2147484239" r:id="rId12"/>
    <p:sldLayoutId id="2147484240" r:id="rId13"/>
    <p:sldLayoutId id="2147484241" r:id="rId14"/>
    <p:sldLayoutId id="2147484242" r:id="rId15"/>
    <p:sldLayoutId id="2147484243" r:id="rId16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45711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91423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371358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828477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Wingdings" charset="2"/>
        <a:buNone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534988" indent="-190500" algn="l" rtl="0" eaLnBrk="1" fontAlgn="base" hangingPunct="1">
        <a:spcBef>
          <a:spcPct val="20000"/>
        </a:spcBef>
        <a:spcAft>
          <a:spcPct val="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</a:defRPr>
      </a:lvl2pPr>
      <a:lvl3pPr marL="801688" indent="-107950" algn="l" rtl="0" eaLnBrk="1" fontAlgn="base" hangingPunct="1">
        <a:spcBef>
          <a:spcPct val="20000"/>
        </a:spcBef>
        <a:spcAft>
          <a:spcPct val="0"/>
        </a:spcAft>
        <a:buClr>
          <a:schemeClr val="accent2"/>
        </a:buClr>
        <a:buFont typeface="Arial" panose="020B0604020202020204" pitchFamily="34" charset="0"/>
        <a:buChar char="•"/>
        <a:defRPr sz="1500">
          <a:solidFill>
            <a:schemeClr val="tx1"/>
          </a:solidFill>
          <a:latin typeface="+mn-lt"/>
        </a:defRPr>
      </a:lvl3pPr>
      <a:lvl4pPr marL="1165225" indent="-176213" algn="l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4pPr>
      <a:lvl5pPr marL="1431925" indent="-149225" algn="l" rtl="0" eaLnBrk="1" fontAlgn="base" hangingPunct="1">
        <a:spcBef>
          <a:spcPct val="20000"/>
        </a:spcBef>
        <a:spcAft>
          <a:spcPct val="0"/>
        </a:spcAft>
        <a:buClr>
          <a:schemeClr val="accent4"/>
        </a:buClr>
        <a:buFont typeface="Arial" panose="020B0604020202020204" pitchFamily="34" charset="0"/>
        <a:buChar char="•"/>
        <a:defRPr sz="1200">
          <a:solidFill>
            <a:schemeClr val="tx1"/>
          </a:solidFill>
          <a:latin typeface="+mn-lt"/>
        </a:defRPr>
      </a:lvl5pPr>
      <a:lvl6pPr marL="205545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6pPr>
      <a:lvl7pPr marL="2512570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7pPr>
      <a:lvl8pPr marL="2969689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8pPr>
      <a:lvl9pPr marL="3426808" indent="-315857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2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39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58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77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9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16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35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54" algn="l" defTabSz="91423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082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0" lang="ru-RU" sz="3200" u="none" strike="noStrike" cap="none" normalizeH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2935224" y="1744901"/>
            <a:ext cx="7132320" cy="1208612"/>
          </a:xfrm>
        </p:spPr>
        <p:txBody>
          <a:bodyPr/>
          <a:lstStyle/>
          <a:p>
            <a:r>
              <a:rPr lang="ru-RU" sz="2600" dirty="0"/>
              <a:t>Принципы </a:t>
            </a:r>
            <a:r>
              <a:rPr lang="en-US" sz="2600" dirty="0"/>
              <a:t>IP</a:t>
            </a:r>
            <a:r>
              <a:rPr lang="ru-RU" sz="2600" dirty="0"/>
              <a:t>-менеджмента проектов </a:t>
            </a:r>
            <a:r>
              <a:rPr lang="en-US" sz="2600" dirty="0"/>
              <a:t>R</a:t>
            </a:r>
            <a:r>
              <a:rPr lang="ru-RU" sz="2600" dirty="0"/>
              <a:t>&amp;</a:t>
            </a:r>
            <a:r>
              <a:rPr lang="en-US" sz="2600" dirty="0"/>
              <a:t>D</a:t>
            </a:r>
            <a:r>
              <a:rPr lang="ru-RU" sz="2600" dirty="0"/>
              <a:t> </a:t>
            </a:r>
            <a:br>
              <a:rPr lang="ru-RU" sz="2600" dirty="0"/>
            </a:br>
            <a:r>
              <a:rPr lang="ru-RU" sz="2600" dirty="0"/>
              <a:t>Предварительная оценка патентных рисков</a:t>
            </a:r>
            <a:endParaRPr lang="ru-RU" sz="26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130839" y="3434271"/>
            <a:ext cx="5582523" cy="1180061"/>
          </a:xfrm>
        </p:spPr>
        <p:txBody>
          <a:bodyPr/>
          <a:lstStyle/>
          <a:p>
            <a:r>
              <a:rPr lang="ru-RU" dirty="0"/>
              <a:t>Мария</a:t>
            </a:r>
            <a:r>
              <a:rPr lang="en-US" dirty="0"/>
              <a:t> </a:t>
            </a:r>
            <a:r>
              <a:rPr lang="ru-RU" dirty="0"/>
              <a:t>Богомолова</a:t>
            </a:r>
            <a:endParaRPr lang="en-US" dirty="0"/>
          </a:p>
          <a:p>
            <a:r>
              <a:rPr lang="ru-RU" dirty="0"/>
              <a:t>Руководитель практики </a:t>
            </a:r>
            <a:endParaRPr lang="en-US" dirty="0"/>
          </a:p>
          <a:p>
            <a:r>
              <a:rPr lang="ru-RU" dirty="0"/>
              <a:t>Интеллектуальная собственность ООО «СИБУР»</a:t>
            </a: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60371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Группа 63"/>
          <p:cNvGrpSpPr/>
          <p:nvPr/>
        </p:nvGrpSpPr>
        <p:grpSpPr>
          <a:xfrm>
            <a:off x="473194" y="1447800"/>
            <a:ext cx="8927188" cy="4570834"/>
            <a:chOff x="0" y="629650"/>
            <a:chExt cx="9628526" cy="5580967"/>
          </a:xfrm>
        </p:grpSpPr>
        <p:grpSp>
          <p:nvGrpSpPr>
            <p:cNvPr id="65" name="Группа 64"/>
            <p:cNvGrpSpPr/>
            <p:nvPr/>
          </p:nvGrpSpPr>
          <p:grpSpPr>
            <a:xfrm>
              <a:off x="0" y="629650"/>
              <a:ext cx="9628526" cy="5580967"/>
              <a:chOff x="217027" y="807226"/>
              <a:chExt cx="9628526" cy="5580967"/>
            </a:xfrm>
          </p:grpSpPr>
          <p:sp>
            <p:nvSpPr>
              <p:cNvPr id="71" name="Скругленный прямоугольник 70"/>
              <p:cNvSpPr/>
              <p:nvPr/>
            </p:nvSpPr>
            <p:spPr bwMode="auto">
              <a:xfrm>
                <a:off x="6427434" y="1892057"/>
                <a:ext cx="1500996" cy="753828"/>
              </a:xfrm>
              <a:prstGeom prst="roundRect">
                <a:avLst/>
              </a:prstGeom>
              <a:solidFill>
                <a:sysClr val="window" lastClr="FFFFFF">
                  <a:lumMod val="65000"/>
                </a:sys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ЕР2928778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Выдан 17.10.2018</a:t>
                </a:r>
              </a:p>
            </p:txBody>
          </p:sp>
          <p:sp>
            <p:nvSpPr>
              <p:cNvPr id="72" name="Скругленный прямоугольник 71"/>
              <p:cNvSpPr/>
              <p:nvPr/>
            </p:nvSpPr>
            <p:spPr bwMode="auto">
              <a:xfrm>
                <a:off x="8149989" y="1892051"/>
                <a:ext cx="1500996" cy="753828"/>
              </a:xfrm>
              <a:prstGeom prst="roundRect">
                <a:avLst/>
              </a:prstGeom>
              <a:solidFill>
                <a:sysClr val="window" lastClr="FFFFFF">
                  <a:lumMod val="65000"/>
                </a:sys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56" b="1" kern="0" dirty="0">
                    <a:solidFill>
                      <a:prstClr val="black"/>
                    </a:solidFill>
                    <a:latin typeface="Arial" charset="0"/>
                  </a:rPr>
                  <a:t>E</a:t>
                </a: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Р2714398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Выдан 20.11.2019</a:t>
                </a:r>
              </a:p>
            </p:txBody>
          </p:sp>
          <p:sp>
            <p:nvSpPr>
              <p:cNvPr id="73" name="Скругленный прямоугольник 72"/>
              <p:cNvSpPr/>
              <p:nvPr/>
            </p:nvSpPr>
            <p:spPr bwMode="auto">
              <a:xfrm>
                <a:off x="728452" y="1892051"/>
                <a:ext cx="1500996" cy="753828"/>
              </a:xfrm>
              <a:prstGeom prst="roundRect">
                <a:avLst/>
              </a:prstGeom>
              <a:solidFill>
                <a:srgbClr val="B2D2D8">
                  <a:lumMod val="75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56" b="1" kern="0" dirty="0">
                    <a:solidFill>
                      <a:prstClr val="black"/>
                    </a:solidFill>
                    <a:latin typeface="Arial" charset="0"/>
                  </a:rPr>
                  <a:t>E</a:t>
                </a: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Р2139678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Выдан 23.02.2012</a:t>
                </a:r>
              </a:p>
            </p:txBody>
          </p:sp>
          <p:sp>
            <p:nvSpPr>
              <p:cNvPr id="74" name="Скругленный прямоугольник 73"/>
              <p:cNvSpPr/>
              <p:nvPr/>
            </p:nvSpPr>
            <p:spPr bwMode="auto">
              <a:xfrm>
                <a:off x="3497400" y="807226"/>
                <a:ext cx="2941607" cy="420540"/>
              </a:xfrm>
              <a:prstGeom prst="roundRect">
                <a:avLst/>
              </a:prstGeom>
              <a:solidFill>
                <a:srgbClr val="518F9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300" b="1" kern="0" dirty="0">
                    <a:solidFill>
                      <a:prstClr val="white"/>
                    </a:solidFill>
                    <a:latin typeface="Arial" charset="0"/>
                  </a:rPr>
                  <a:t>INNOVIA FILMS</a:t>
                </a:r>
                <a:endParaRPr lang="ru-RU" sz="1300" b="1" kern="0" dirty="0">
                  <a:solidFill>
                    <a:prstClr val="white"/>
                  </a:solidFill>
                  <a:latin typeface="Arial" charset="0"/>
                </a:endParaRPr>
              </a:p>
            </p:txBody>
          </p:sp>
          <p:cxnSp>
            <p:nvCxnSpPr>
              <p:cNvPr id="75" name="Соединительная линия уступом 74"/>
              <p:cNvCxnSpPr>
                <a:endCxn id="72" idx="0"/>
              </p:cNvCxnSpPr>
              <p:nvPr/>
            </p:nvCxnSpPr>
            <p:spPr bwMode="auto">
              <a:xfrm>
                <a:off x="5069137" y="1626790"/>
                <a:ext cx="3831350" cy="265261"/>
              </a:xfrm>
              <a:prstGeom prst="bentConnector2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76" name="Прямая со стрелкой 75"/>
              <p:cNvCxnSpPr>
                <a:endCxn id="71" idx="0"/>
              </p:cNvCxnSpPr>
              <p:nvPr/>
            </p:nvCxnSpPr>
            <p:spPr bwMode="auto">
              <a:xfrm>
                <a:off x="7177932" y="1647648"/>
                <a:ext cx="0" cy="244408"/>
              </a:xfrm>
              <a:prstGeom prst="straightConnector1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77" name="Скругленный прямоугольник 9">
                <a:extLst>
                  <a:ext uri="{FF2B5EF4-FFF2-40B4-BE49-F238E27FC236}">
                    <a16:creationId xmlns:a16="http://schemas.microsoft.com/office/drawing/2014/main" id="{5124EB93-474A-44F3-ADCF-9C046E6D19D2}"/>
                  </a:ext>
                </a:extLst>
              </p:cNvPr>
              <p:cNvSpPr/>
              <p:nvPr/>
            </p:nvSpPr>
            <p:spPr bwMode="auto">
              <a:xfrm>
                <a:off x="2647937" y="1890615"/>
                <a:ext cx="1500996" cy="753828"/>
              </a:xfrm>
              <a:prstGeom prst="roundRect">
                <a:avLst/>
              </a:prstGeom>
              <a:solidFill>
                <a:srgbClr val="B2D2D8">
                  <a:lumMod val="75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ЕР2447057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Выдан 20.02.2014</a:t>
                </a:r>
              </a:p>
            </p:txBody>
          </p:sp>
          <p:sp>
            <p:nvSpPr>
              <p:cNvPr id="78" name="Скругленный прямоугольник 9">
                <a:extLst>
                  <a:ext uri="{FF2B5EF4-FFF2-40B4-BE49-F238E27FC236}">
                    <a16:creationId xmlns:a16="http://schemas.microsoft.com/office/drawing/2014/main" id="{B087328A-95DA-4F52-AF4A-67BF6944A8A0}"/>
                  </a:ext>
                </a:extLst>
              </p:cNvPr>
              <p:cNvSpPr/>
              <p:nvPr/>
            </p:nvSpPr>
            <p:spPr bwMode="auto">
              <a:xfrm>
                <a:off x="4567423" y="1891404"/>
                <a:ext cx="1500996" cy="753828"/>
              </a:xfrm>
              <a:prstGeom prst="roundRect">
                <a:avLst/>
              </a:prstGeom>
              <a:solidFill>
                <a:srgbClr val="B2D2D8">
                  <a:lumMod val="75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56" b="1" kern="0" dirty="0">
                    <a:solidFill>
                      <a:prstClr val="black"/>
                    </a:solidFill>
                    <a:latin typeface="Arial" charset="0"/>
                  </a:rPr>
                  <a:t>E</a:t>
                </a: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Р2447058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Выдан 20.02.2014</a:t>
                </a:r>
              </a:p>
            </p:txBody>
          </p:sp>
          <p:sp>
            <p:nvSpPr>
              <p:cNvPr id="79" name="Прямоугольник: скругленные углы 72">
                <a:extLst>
                  <a:ext uri="{FF2B5EF4-FFF2-40B4-BE49-F238E27FC236}">
                    <a16:creationId xmlns:a16="http://schemas.microsoft.com/office/drawing/2014/main" id="{3B2E0E5A-7766-4690-8299-99727F5DAF38}"/>
                  </a:ext>
                </a:extLst>
              </p:cNvPr>
              <p:cNvSpPr/>
              <p:nvPr/>
            </p:nvSpPr>
            <p:spPr bwMode="auto">
              <a:xfrm>
                <a:off x="2647937" y="2907458"/>
                <a:ext cx="1500996" cy="555973"/>
              </a:xfrm>
              <a:prstGeom prst="roundRect">
                <a:avLst/>
              </a:prstGeom>
              <a:solidFill>
                <a:srgbClr val="B2D2D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Возражение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19.12.2014</a:t>
                </a:r>
              </a:p>
            </p:txBody>
          </p:sp>
          <p:sp>
            <p:nvSpPr>
              <p:cNvPr id="80" name="Прямоугольник: скругленные углы 73">
                <a:extLst>
                  <a:ext uri="{FF2B5EF4-FFF2-40B4-BE49-F238E27FC236}">
                    <a16:creationId xmlns:a16="http://schemas.microsoft.com/office/drawing/2014/main" id="{E80A9B5D-2607-47A6-938E-462195FB9DAC}"/>
                  </a:ext>
                </a:extLst>
              </p:cNvPr>
              <p:cNvSpPr/>
              <p:nvPr/>
            </p:nvSpPr>
            <p:spPr bwMode="auto">
              <a:xfrm>
                <a:off x="728452" y="3784153"/>
                <a:ext cx="1500996" cy="555973"/>
              </a:xfrm>
              <a:prstGeom prst="roundRect">
                <a:avLst/>
              </a:prstGeom>
              <a:solidFill>
                <a:srgbClr val="B2D2D8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Аннулирование 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29.10.2014</a:t>
                </a:r>
              </a:p>
            </p:txBody>
          </p:sp>
          <p:sp>
            <p:nvSpPr>
              <p:cNvPr id="81" name="Прямоугольник: скругленные углы 75">
                <a:extLst>
                  <a:ext uri="{FF2B5EF4-FFF2-40B4-BE49-F238E27FC236}">
                    <a16:creationId xmlns:a16="http://schemas.microsoft.com/office/drawing/2014/main" id="{B368FC19-6268-40F0-8DDE-70BE34D41B09}"/>
                  </a:ext>
                </a:extLst>
              </p:cNvPr>
              <p:cNvSpPr/>
              <p:nvPr/>
            </p:nvSpPr>
            <p:spPr bwMode="auto">
              <a:xfrm>
                <a:off x="728452" y="4655109"/>
                <a:ext cx="1500996" cy="555973"/>
              </a:xfrm>
              <a:prstGeom prst="roundRect">
                <a:avLst/>
              </a:prstGeom>
              <a:solidFill>
                <a:srgbClr val="B2D2D8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Апелляция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18.12.2014</a:t>
                </a:r>
              </a:p>
            </p:txBody>
          </p:sp>
          <p:sp>
            <p:nvSpPr>
              <p:cNvPr id="82" name="Прямоугольник: скругленные углы 76">
                <a:extLst>
                  <a:ext uri="{FF2B5EF4-FFF2-40B4-BE49-F238E27FC236}">
                    <a16:creationId xmlns:a16="http://schemas.microsoft.com/office/drawing/2014/main" id="{AF700156-4D13-4929-ACDB-5471E9C58C5C}"/>
                  </a:ext>
                </a:extLst>
              </p:cNvPr>
              <p:cNvSpPr/>
              <p:nvPr/>
            </p:nvSpPr>
            <p:spPr bwMode="auto">
              <a:xfrm>
                <a:off x="2597649" y="3774111"/>
                <a:ext cx="1500995" cy="566015"/>
              </a:xfrm>
              <a:prstGeom prst="roundRect">
                <a:avLst/>
              </a:prstGeom>
              <a:solidFill>
                <a:srgbClr val="B2D2D8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Аннулирование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19.05.2016</a:t>
                </a:r>
              </a:p>
            </p:txBody>
          </p:sp>
          <p:sp>
            <p:nvSpPr>
              <p:cNvPr id="83" name="Прямоугольник: скругленные углы 78">
                <a:extLst>
                  <a:ext uri="{FF2B5EF4-FFF2-40B4-BE49-F238E27FC236}">
                    <a16:creationId xmlns:a16="http://schemas.microsoft.com/office/drawing/2014/main" id="{E593CA3A-63CC-454F-A2B1-825EE035DC28}"/>
                  </a:ext>
                </a:extLst>
              </p:cNvPr>
              <p:cNvSpPr/>
              <p:nvPr/>
            </p:nvSpPr>
            <p:spPr bwMode="auto">
              <a:xfrm>
                <a:off x="4567423" y="3776751"/>
                <a:ext cx="1431157" cy="566029"/>
              </a:xfrm>
              <a:prstGeom prst="roundRect">
                <a:avLst/>
              </a:prstGeom>
              <a:solidFill>
                <a:srgbClr val="B2D2D8">
                  <a:lumMod val="60000"/>
                  <a:lumOff val="4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Аннулирование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19.05.2016</a:t>
                </a:r>
              </a:p>
            </p:txBody>
          </p:sp>
          <p:sp>
            <p:nvSpPr>
              <p:cNvPr id="84" name="Прямоугольник: скругленные углы 82">
                <a:extLst>
                  <a:ext uri="{FF2B5EF4-FFF2-40B4-BE49-F238E27FC236}">
                    <a16:creationId xmlns:a16="http://schemas.microsoft.com/office/drawing/2014/main" id="{EC8E77D7-4CFE-48CC-B6B0-A4C1D7653DAB}"/>
                  </a:ext>
                </a:extLst>
              </p:cNvPr>
              <p:cNvSpPr/>
              <p:nvPr/>
            </p:nvSpPr>
            <p:spPr bwMode="auto">
              <a:xfrm>
                <a:off x="6466446" y="2921540"/>
                <a:ext cx="1422240" cy="576331"/>
              </a:xfrm>
              <a:prstGeom prst="roundRect">
                <a:avLst/>
              </a:prstGeom>
              <a:solidFill>
                <a:sysClr val="window" lastClr="FFFFFF">
                  <a:lumMod val="75000"/>
                </a:sys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Возражение </a:t>
                </a:r>
                <a:r>
                  <a:rPr lang="en-US" sz="1056" b="1" kern="0" dirty="0">
                    <a:solidFill>
                      <a:prstClr val="black"/>
                    </a:solidFill>
                    <a:latin typeface="Arial" charset="0"/>
                  </a:rPr>
                  <a:t>16.07.2019</a:t>
                </a:r>
                <a:endParaRPr lang="ru-RU" sz="1056" b="1" kern="0" dirty="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85" name="Прямоугольник: скругленные углы 84">
                <a:extLst>
                  <a:ext uri="{FF2B5EF4-FFF2-40B4-BE49-F238E27FC236}">
                    <a16:creationId xmlns:a16="http://schemas.microsoft.com/office/drawing/2014/main" id="{C6DA3497-CA12-4801-9DA3-0975837C1BA1}"/>
                  </a:ext>
                </a:extLst>
              </p:cNvPr>
              <p:cNvSpPr/>
              <p:nvPr/>
            </p:nvSpPr>
            <p:spPr bwMode="auto">
              <a:xfrm>
                <a:off x="4567423" y="2909173"/>
                <a:ext cx="1431157" cy="555973"/>
              </a:xfrm>
              <a:prstGeom prst="roundRect">
                <a:avLst/>
              </a:prstGeom>
              <a:solidFill>
                <a:srgbClr val="B2D2D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Возражение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18.12.2014</a:t>
                </a:r>
              </a:p>
            </p:txBody>
          </p:sp>
          <p:sp>
            <p:nvSpPr>
              <p:cNvPr id="86" name="Прямоугольник: скругленные углы 88">
                <a:extLst>
                  <a:ext uri="{FF2B5EF4-FFF2-40B4-BE49-F238E27FC236}">
                    <a16:creationId xmlns:a16="http://schemas.microsoft.com/office/drawing/2014/main" id="{FC262575-FFD2-4DA4-AC44-A30D4F022083}"/>
                  </a:ext>
                </a:extLst>
              </p:cNvPr>
              <p:cNvSpPr/>
              <p:nvPr/>
            </p:nvSpPr>
            <p:spPr bwMode="auto">
              <a:xfrm>
                <a:off x="4567423" y="4644332"/>
                <a:ext cx="1500995" cy="555973"/>
              </a:xfrm>
              <a:prstGeom prst="roundRect">
                <a:avLst/>
              </a:prstGeom>
              <a:solidFill>
                <a:srgbClr val="B2D2D8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Апелляция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18.07.2016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056" b="1" kern="0" dirty="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87" name="Прямоугольник: скругленные углы 89">
                <a:extLst>
                  <a:ext uri="{FF2B5EF4-FFF2-40B4-BE49-F238E27FC236}">
                    <a16:creationId xmlns:a16="http://schemas.microsoft.com/office/drawing/2014/main" id="{320703C5-50DB-4976-BC1F-A08103BEBC9E}"/>
                  </a:ext>
                </a:extLst>
              </p:cNvPr>
              <p:cNvSpPr/>
              <p:nvPr/>
            </p:nvSpPr>
            <p:spPr bwMode="auto">
              <a:xfrm>
                <a:off x="2597649" y="4640764"/>
                <a:ext cx="1500995" cy="555973"/>
              </a:xfrm>
              <a:prstGeom prst="roundRect">
                <a:avLst/>
              </a:prstGeom>
              <a:solidFill>
                <a:srgbClr val="B2D2D8">
                  <a:lumMod val="20000"/>
                  <a:lumOff val="8000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Апелляция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19.07.2016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056" b="1" kern="0" dirty="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88" name="Прямоугольник: скругленные углы 90">
                <a:extLst>
                  <a:ext uri="{FF2B5EF4-FFF2-40B4-BE49-F238E27FC236}">
                    <a16:creationId xmlns:a16="http://schemas.microsoft.com/office/drawing/2014/main" id="{F7081472-60B0-4C8B-831A-011422367B09}"/>
                  </a:ext>
                </a:extLst>
              </p:cNvPr>
              <p:cNvSpPr/>
              <p:nvPr/>
            </p:nvSpPr>
            <p:spPr bwMode="auto">
              <a:xfrm>
                <a:off x="728451" y="2913197"/>
                <a:ext cx="1500996" cy="555973"/>
              </a:xfrm>
              <a:prstGeom prst="roundRect">
                <a:avLst/>
              </a:prstGeom>
              <a:solidFill>
                <a:srgbClr val="B2D2D8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Возражение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23.02.2012</a:t>
                </a:r>
              </a:p>
            </p:txBody>
          </p:sp>
          <p:sp>
            <p:nvSpPr>
              <p:cNvPr id="89" name="Прямоугольник: скругленные углы 92">
                <a:extLst>
                  <a:ext uri="{FF2B5EF4-FFF2-40B4-BE49-F238E27FC236}">
                    <a16:creationId xmlns:a16="http://schemas.microsoft.com/office/drawing/2014/main" id="{967358A8-34B3-4F7A-A46C-872F016D23C4}"/>
                  </a:ext>
                </a:extLst>
              </p:cNvPr>
              <p:cNvSpPr/>
              <p:nvPr/>
            </p:nvSpPr>
            <p:spPr bwMode="auto">
              <a:xfrm>
                <a:off x="728452" y="5526064"/>
                <a:ext cx="1500996" cy="555973"/>
              </a:xfrm>
              <a:prstGeom prst="roundRect">
                <a:avLst/>
              </a:prstGeom>
              <a:solidFill>
                <a:srgbClr val="B2E38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srgbClr val="C00000">
                        <a:lumMod val="75000"/>
                      </a:srgbClr>
                    </a:solidFill>
                    <a:latin typeface="Arial" charset="0"/>
                  </a:rPr>
                  <a:t>Аннулирование 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56" b="1" kern="0" dirty="0">
                    <a:solidFill>
                      <a:srgbClr val="C00000">
                        <a:lumMod val="75000"/>
                      </a:srgbClr>
                    </a:solidFill>
                    <a:latin typeface="Arial" charset="0"/>
                  </a:rPr>
                  <a:t>23.07.2019</a:t>
                </a:r>
                <a:endParaRPr lang="ru-RU" sz="1056" b="1" kern="0" dirty="0">
                  <a:solidFill>
                    <a:srgbClr val="C00000">
                      <a:lumMod val="75000"/>
                    </a:srgbClr>
                  </a:solidFill>
                  <a:latin typeface="Arial" charset="0"/>
                </a:endParaRPr>
              </a:p>
            </p:txBody>
          </p:sp>
          <p:sp>
            <p:nvSpPr>
              <p:cNvPr id="90" name="Прямоугольник: скругленные углы 94">
                <a:extLst>
                  <a:ext uri="{FF2B5EF4-FFF2-40B4-BE49-F238E27FC236}">
                    <a16:creationId xmlns:a16="http://schemas.microsoft.com/office/drawing/2014/main" id="{A0763377-0A7F-49A3-A70E-0C7A92F61ABF}"/>
                  </a:ext>
                </a:extLst>
              </p:cNvPr>
              <p:cNvSpPr/>
              <p:nvPr/>
            </p:nvSpPr>
            <p:spPr bwMode="auto">
              <a:xfrm>
                <a:off x="2597649" y="5507417"/>
                <a:ext cx="1500996" cy="555973"/>
              </a:xfrm>
              <a:prstGeom prst="roundRect">
                <a:avLst/>
              </a:prstGeom>
              <a:solidFill>
                <a:srgbClr val="B2E38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srgbClr val="C00000">
                        <a:lumMod val="75000"/>
                      </a:srgbClr>
                    </a:solidFill>
                    <a:latin typeface="Arial" charset="0"/>
                  </a:rPr>
                  <a:t>Аннулирование 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56" b="1" kern="0" dirty="0">
                    <a:solidFill>
                      <a:srgbClr val="C00000">
                        <a:lumMod val="75000"/>
                      </a:srgbClr>
                    </a:solidFill>
                    <a:latin typeface="Arial" charset="0"/>
                  </a:rPr>
                  <a:t>16.01.2020</a:t>
                </a:r>
                <a:endParaRPr lang="ru-RU" sz="1056" b="1" kern="0" dirty="0">
                  <a:solidFill>
                    <a:srgbClr val="C00000">
                      <a:lumMod val="75000"/>
                    </a:srgbClr>
                  </a:solidFill>
                  <a:latin typeface="Arial" charset="0"/>
                </a:endParaRPr>
              </a:p>
            </p:txBody>
          </p:sp>
          <p:sp>
            <p:nvSpPr>
              <p:cNvPr id="91" name="Прямоугольник: скругленные углы 95">
                <a:extLst>
                  <a:ext uri="{FF2B5EF4-FFF2-40B4-BE49-F238E27FC236}">
                    <a16:creationId xmlns:a16="http://schemas.microsoft.com/office/drawing/2014/main" id="{32A39BCC-0218-4716-84C9-6B8B6F9717C9}"/>
                  </a:ext>
                </a:extLst>
              </p:cNvPr>
              <p:cNvSpPr/>
              <p:nvPr/>
            </p:nvSpPr>
            <p:spPr bwMode="auto">
              <a:xfrm>
                <a:off x="4567423" y="5511912"/>
                <a:ext cx="1500996" cy="555973"/>
              </a:xfrm>
              <a:prstGeom prst="roundRect">
                <a:avLst/>
              </a:prstGeom>
              <a:solidFill>
                <a:srgbClr val="B2E38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srgbClr val="C00000">
                        <a:lumMod val="75000"/>
                      </a:srgbClr>
                    </a:solidFill>
                    <a:latin typeface="Arial" charset="0"/>
                  </a:rPr>
                  <a:t>Аннулирование 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56" b="1" kern="0" dirty="0">
                    <a:solidFill>
                      <a:srgbClr val="C00000">
                        <a:lumMod val="75000"/>
                      </a:srgbClr>
                    </a:solidFill>
                    <a:latin typeface="Arial" charset="0"/>
                  </a:rPr>
                  <a:t>08.01</a:t>
                </a:r>
                <a:r>
                  <a:rPr lang="ru-RU" sz="1056" b="1" kern="0" dirty="0">
                    <a:solidFill>
                      <a:srgbClr val="C00000">
                        <a:lumMod val="75000"/>
                      </a:srgbClr>
                    </a:solidFill>
                    <a:latin typeface="Arial" charset="0"/>
                  </a:rPr>
                  <a:t>.</a:t>
                </a:r>
                <a:r>
                  <a:rPr lang="en-US" sz="1056" b="1" kern="0" dirty="0">
                    <a:solidFill>
                      <a:srgbClr val="C00000">
                        <a:lumMod val="75000"/>
                      </a:srgbClr>
                    </a:solidFill>
                    <a:latin typeface="Arial" charset="0"/>
                  </a:rPr>
                  <a:t>2020</a:t>
                </a:r>
                <a:endParaRPr lang="ru-RU" sz="1056" b="1" kern="0" dirty="0">
                  <a:solidFill>
                    <a:srgbClr val="C00000">
                      <a:lumMod val="75000"/>
                    </a:srgbClr>
                  </a:solidFill>
                  <a:latin typeface="Arial" charset="0"/>
                </a:endParaRPr>
              </a:p>
            </p:txBody>
          </p:sp>
          <p:cxnSp>
            <p:nvCxnSpPr>
              <p:cNvPr id="107" name="Соединитель: уступ 62">
                <a:extLst>
                  <a:ext uri="{FF2B5EF4-FFF2-40B4-BE49-F238E27FC236}">
                    <a16:creationId xmlns:a16="http://schemas.microsoft.com/office/drawing/2014/main" id="{9950CAFE-C9F7-4759-88C3-DEBA95056F05}"/>
                  </a:ext>
                </a:extLst>
              </p:cNvPr>
              <p:cNvCxnSpPr>
                <a:endCxn id="73" idx="0"/>
              </p:cNvCxnSpPr>
              <p:nvPr/>
            </p:nvCxnSpPr>
            <p:spPr bwMode="auto">
              <a:xfrm rot="10800000" flipV="1">
                <a:off x="1478950" y="1626789"/>
                <a:ext cx="3617415" cy="265262"/>
              </a:xfrm>
              <a:prstGeom prst="bentConnector2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8" name="Прямая со стрелкой 107">
                <a:extLst>
                  <a:ext uri="{FF2B5EF4-FFF2-40B4-BE49-F238E27FC236}">
                    <a16:creationId xmlns:a16="http://schemas.microsoft.com/office/drawing/2014/main" id="{FCDA422E-FF12-4D1F-B284-584BFE9A7E19}"/>
                  </a:ext>
                </a:extLst>
              </p:cNvPr>
              <p:cNvCxnSpPr>
                <a:endCxn id="77" idx="0"/>
              </p:cNvCxnSpPr>
              <p:nvPr/>
            </p:nvCxnSpPr>
            <p:spPr bwMode="auto">
              <a:xfrm>
                <a:off x="3398435" y="1626790"/>
                <a:ext cx="0" cy="263825"/>
              </a:xfrm>
              <a:prstGeom prst="straightConnector1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109" name="Прямая со стрелкой 108">
                <a:extLst>
                  <a:ext uri="{FF2B5EF4-FFF2-40B4-BE49-F238E27FC236}">
                    <a16:creationId xmlns:a16="http://schemas.microsoft.com/office/drawing/2014/main" id="{E84BECA6-107A-4AD4-B411-40560D99396E}"/>
                  </a:ext>
                </a:extLst>
              </p:cNvPr>
              <p:cNvCxnSpPr>
                <a:endCxn id="78" idx="0"/>
              </p:cNvCxnSpPr>
              <p:nvPr/>
            </p:nvCxnSpPr>
            <p:spPr bwMode="auto">
              <a:xfrm flipH="1">
                <a:off x="5317921" y="1647648"/>
                <a:ext cx="9998" cy="243756"/>
              </a:xfrm>
              <a:prstGeom prst="straightConnector1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sp>
            <p:nvSpPr>
              <p:cNvPr id="110" name="Прямоугольник: скругленные углы 118">
                <a:extLst>
                  <a:ext uri="{FF2B5EF4-FFF2-40B4-BE49-F238E27FC236}">
                    <a16:creationId xmlns:a16="http://schemas.microsoft.com/office/drawing/2014/main" id="{1B29C6E3-EDD6-4924-A7A1-3E7D6AD9237A}"/>
                  </a:ext>
                </a:extLst>
              </p:cNvPr>
              <p:cNvSpPr/>
              <p:nvPr/>
            </p:nvSpPr>
            <p:spPr bwMode="auto">
              <a:xfrm>
                <a:off x="6233262" y="5462448"/>
                <a:ext cx="3562085" cy="501199"/>
              </a:xfrm>
              <a:prstGeom prst="roundRect">
                <a:avLst/>
              </a:prstGeom>
              <a:solidFill>
                <a:srgbClr val="FFC000">
                  <a:alpha val="0"/>
                </a:srgb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138" kern="0" dirty="0">
                    <a:solidFill>
                      <a:srgbClr val="C00000">
                        <a:lumMod val="75000"/>
                      </a:srgbClr>
                    </a:solidFill>
                    <a:latin typeface="Arial" charset="0"/>
                  </a:rPr>
                  <a:t>Делопроизводство по оспариванию продолжается</a:t>
                </a:r>
              </a:p>
            </p:txBody>
          </p:sp>
          <p:sp>
            <p:nvSpPr>
              <p:cNvPr id="111" name="TextBox 110"/>
              <p:cNvSpPr txBox="1"/>
              <p:nvPr/>
            </p:nvSpPr>
            <p:spPr>
              <a:xfrm>
                <a:off x="1026794" y="1314436"/>
                <a:ext cx="3540629" cy="5403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>
                  <a:defRPr/>
                </a:pPr>
                <a:r>
                  <a:rPr lang="ru-RU" sz="1138" kern="0" dirty="0">
                    <a:solidFill>
                      <a:srgbClr val="F58A1F">
                        <a:lumMod val="75000"/>
                      </a:srgbClr>
                    </a:solidFill>
                    <a:latin typeface="Arial"/>
                  </a:rPr>
                  <a:t>Начало процесса аннулирования –</a:t>
                </a:r>
                <a:r>
                  <a:rPr lang="en-US" sz="1138" kern="0" dirty="0">
                    <a:solidFill>
                      <a:srgbClr val="F58A1F">
                        <a:lumMod val="75000"/>
                      </a:srgbClr>
                    </a:solidFill>
                    <a:latin typeface="Arial"/>
                  </a:rPr>
                  <a:t> 13.12.2012</a:t>
                </a:r>
                <a:r>
                  <a:rPr lang="ru-RU" sz="1138" kern="0" dirty="0">
                    <a:solidFill>
                      <a:srgbClr val="F58A1F">
                        <a:lumMod val="75000"/>
                      </a:srgbClr>
                    </a:solidFill>
                    <a:latin typeface="Arial"/>
                  </a:rPr>
                  <a:t>  </a:t>
                </a:r>
              </a:p>
            </p:txBody>
          </p:sp>
          <p:sp>
            <p:nvSpPr>
              <p:cNvPr id="112" name="TextBox 111"/>
              <p:cNvSpPr txBox="1"/>
              <p:nvPr/>
            </p:nvSpPr>
            <p:spPr>
              <a:xfrm>
                <a:off x="5899112" y="1330810"/>
                <a:ext cx="3946441" cy="3265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defTabSz="742950">
                  <a:defRPr/>
                </a:pPr>
                <a:r>
                  <a:rPr lang="ru-RU" sz="1138" kern="0" dirty="0">
                    <a:solidFill>
                      <a:srgbClr val="F58A1F">
                        <a:lumMod val="75000"/>
                      </a:srgbClr>
                    </a:solidFill>
                    <a:latin typeface="Arial"/>
                  </a:rPr>
                  <a:t>Начало процесса аннулирования –</a:t>
                </a:r>
                <a:r>
                  <a:rPr lang="en-US" sz="1138" kern="0" dirty="0">
                    <a:solidFill>
                      <a:srgbClr val="F58A1F">
                        <a:lumMod val="75000"/>
                      </a:srgbClr>
                    </a:solidFill>
                    <a:latin typeface="Arial"/>
                  </a:rPr>
                  <a:t> 16.07.2019</a:t>
                </a:r>
                <a:r>
                  <a:rPr lang="ru-RU" sz="1138" kern="0" dirty="0">
                    <a:solidFill>
                      <a:srgbClr val="F58A1F">
                        <a:lumMod val="75000"/>
                      </a:srgbClr>
                    </a:solidFill>
                    <a:latin typeface="Arial"/>
                  </a:rPr>
                  <a:t>  </a:t>
                </a:r>
              </a:p>
            </p:txBody>
          </p:sp>
          <p:sp>
            <p:nvSpPr>
              <p:cNvPr id="113" name="Левая фигурная скобка 112"/>
              <p:cNvSpPr/>
              <p:nvPr/>
            </p:nvSpPr>
            <p:spPr bwMode="auto">
              <a:xfrm>
                <a:off x="459690" y="1890616"/>
                <a:ext cx="276559" cy="2305526"/>
              </a:xfrm>
              <a:prstGeom prst="leftBrace">
                <a:avLst>
                  <a:gd name="adj1" fmla="val 9333"/>
                  <a:gd name="adj2" fmla="val 50000"/>
                </a:avLst>
              </a:prstGeom>
              <a:noFill/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463" b="1" kern="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14" name="TextBox 113"/>
              <p:cNvSpPr txBox="1"/>
              <p:nvPr/>
            </p:nvSpPr>
            <p:spPr>
              <a:xfrm>
                <a:off x="217027" y="2562501"/>
                <a:ext cx="388043" cy="771704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pPr defTabSz="742950">
                  <a:defRPr/>
                </a:pPr>
                <a:r>
                  <a:rPr lang="ru-RU" sz="1138" kern="0" dirty="0">
                    <a:solidFill>
                      <a:srgbClr val="F58A1F">
                        <a:lumMod val="75000"/>
                      </a:srgbClr>
                    </a:solidFill>
                    <a:latin typeface="Arial"/>
                  </a:rPr>
                  <a:t>2,5 года</a:t>
                </a:r>
              </a:p>
            </p:txBody>
          </p:sp>
          <p:sp>
            <p:nvSpPr>
              <p:cNvPr id="115" name="Прямоугольник: скругленные углы 78">
                <a:extLst>
                  <a:ext uri="{FF2B5EF4-FFF2-40B4-BE49-F238E27FC236}">
                    <a16:creationId xmlns:a16="http://schemas.microsoft.com/office/drawing/2014/main" id="{E593CA3A-63CC-454F-A2B1-825EE035DC28}"/>
                  </a:ext>
                </a:extLst>
              </p:cNvPr>
              <p:cNvSpPr/>
              <p:nvPr/>
            </p:nvSpPr>
            <p:spPr bwMode="auto">
              <a:xfrm>
                <a:off x="6476085" y="3774241"/>
                <a:ext cx="1431157" cy="555973"/>
              </a:xfrm>
              <a:prstGeom prst="roundRect">
                <a:avLst/>
              </a:prstGeom>
              <a:solidFill>
                <a:sysClr val="window" lastClr="FFFFFF">
                  <a:lumMod val="85000"/>
                </a:sys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Аннулирование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56" b="1" kern="0" dirty="0">
                    <a:solidFill>
                      <a:prstClr val="black"/>
                    </a:solidFill>
                    <a:latin typeface="Arial" charset="0"/>
                  </a:rPr>
                  <a:t>17.03.2021</a:t>
                </a:r>
                <a:endParaRPr lang="ru-RU" sz="1056" b="1" kern="0" dirty="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16" name="Прямоугольник: скругленные углы 88">
                <a:extLst>
                  <a:ext uri="{FF2B5EF4-FFF2-40B4-BE49-F238E27FC236}">
                    <a16:creationId xmlns:a16="http://schemas.microsoft.com/office/drawing/2014/main" id="{FC262575-FFD2-4DA4-AC44-A30D4F022083}"/>
                  </a:ext>
                </a:extLst>
              </p:cNvPr>
              <p:cNvSpPr/>
              <p:nvPr/>
            </p:nvSpPr>
            <p:spPr bwMode="auto">
              <a:xfrm>
                <a:off x="6476085" y="4640764"/>
                <a:ext cx="1431157" cy="539574"/>
              </a:xfrm>
              <a:prstGeom prst="roundRect">
                <a:avLst/>
              </a:prstGeom>
              <a:solidFill>
                <a:sysClr val="window" lastClr="FFFFFF">
                  <a:lumMod val="95000"/>
                </a:sys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Апелляция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056" b="1" kern="0" dirty="0">
                    <a:solidFill>
                      <a:prstClr val="black"/>
                    </a:solidFill>
                    <a:latin typeface="Arial" charset="0"/>
                  </a:rPr>
                  <a:t>14.06.2021</a:t>
                </a:r>
                <a:endParaRPr lang="ru-RU" sz="1056" b="1" kern="0" dirty="0">
                  <a:solidFill>
                    <a:prstClr val="black"/>
                  </a:solidFill>
                  <a:latin typeface="Arial" charset="0"/>
                </a:endParaRP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056" b="1" kern="0" dirty="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19" name="Прямоугольник: скругленные углы 82">
                <a:extLst>
                  <a:ext uri="{FF2B5EF4-FFF2-40B4-BE49-F238E27FC236}">
                    <a16:creationId xmlns:a16="http://schemas.microsoft.com/office/drawing/2014/main" id="{EC8E77D7-4CFE-48CC-B6B0-A4C1D7653DAB}"/>
                  </a:ext>
                </a:extLst>
              </p:cNvPr>
              <p:cNvSpPr/>
              <p:nvPr/>
            </p:nvSpPr>
            <p:spPr bwMode="auto">
              <a:xfrm>
                <a:off x="8126233" y="2909926"/>
                <a:ext cx="1538047" cy="558933"/>
              </a:xfrm>
              <a:prstGeom prst="roundRect">
                <a:avLst/>
              </a:prstGeom>
              <a:solidFill>
                <a:sysClr val="window" lastClr="FFFFFF">
                  <a:lumMod val="75000"/>
                </a:sysClr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056" b="1" kern="0" dirty="0">
                    <a:solidFill>
                      <a:prstClr val="black"/>
                    </a:solidFill>
                    <a:latin typeface="Arial" charset="0"/>
                  </a:rPr>
                  <a:t>Возражение </a:t>
                </a:r>
                <a:r>
                  <a:rPr lang="en-US" sz="1056" b="1" kern="0" dirty="0">
                    <a:solidFill>
                      <a:prstClr val="black"/>
                    </a:solidFill>
                    <a:latin typeface="Arial" charset="0"/>
                  </a:rPr>
                  <a:t>20.08.2020</a:t>
                </a:r>
                <a:endParaRPr lang="ru-RU" sz="1056" b="1" kern="0" dirty="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22" name="Скругленный прямоугольник 121"/>
              <p:cNvSpPr/>
              <p:nvPr/>
            </p:nvSpPr>
            <p:spPr bwMode="auto">
              <a:xfrm>
                <a:off x="550855" y="6156079"/>
                <a:ext cx="5594580" cy="232114"/>
              </a:xfrm>
              <a:prstGeom prst="roundRect">
                <a:avLst/>
              </a:prstGeom>
              <a:noFill/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138" kern="0" dirty="0">
                    <a:solidFill>
                      <a:srgbClr val="C00000">
                        <a:lumMod val="75000"/>
                      </a:srgbClr>
                    </a:solidFill>
                    <a:latin typeface="Arial"/>
                  </a:rPr>
                  <a:t>Суммарный срок аннулирования, включая апелляцию  -  </a:t>
                </a:r>
                <a:r>
                  <a:rPr lang="en-US" sz="1138" kern="0" dirty="0">
                    <a:solidFill>
                      <a:srgbClr val="C00000">
                        <a:lumMod val="75000"/>
                      </a:srgbClr>
                    </a:solidFill>
                    <a:latin typeface="Arial"/>
                  </a:rPr>
                  <a:t>6,5</a:t>
                </a:r>
                <a:r>
                  <a:rPr lang="ru-RU" sz="1138" kern="0" dirty="0">
                    <a:solidFill>
                      <a:srgbClr val="C00000">
                        <a:lumMod val="75000"/>
                      </a:srgbClr>
                    </a:solidFill>
                    <a:latin typeface="Arial"/>
                  </a:rPr>
                  <a:t> лет</a:t>
                </a: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ru-RU" sz="1138" kern="0" dirty="0">
                  <a:solidFill>
                    <a:srgbClr val="C00000">
                      <a:lumMod val="75000"/>
                    </a:srgbClr>
                  </a:solidFill>
                  <a:latin typeface="Arial" charset="0"/>
                </a:endParaRPr>
              </a:p>
            </p:txBody>
          </p:sp>
        </p:grpSp>
        <p:cxnSp>
          <p:nvCxnSpPr>
            <p:cNvPr id="70" name="Прямая со стрелкой 69"/>
            <p:cNvCxnSpPr>
              <a:stCxn id="74" idx="2"/>
            </p:cNvCxnSpPr>
            <p:nvPr/>
          </p:nvCxnSpPr>
          <p:spPr bwMode="auto">
            <a:xfrm>
              <a:off x="4751177" y="1050190"/>
              <a:ext cx="5321" cy="388600"/>
            </a:xfrm>
            <a:prstGeom prst="straightConnector1">
              <a:avLst/>
            </a:prstGeom>
            <a:solidFill>
              <a:srgbClr val="008C95"/>
            </a:solidFill>
            <a:ln w="9525" cap="flat" cmpd="sng" algn="ctr">
              <a:solidFill>
                <a:sysClr val="windowText" lastClr="000000"/>
              </a:solidFill>
              <a:prstDash val="solid"/>
              <a:round/>
              <a:headEnd type="none" w="med" len="med"/>
              <a:tailEnd type="triangle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  <p:sp>
        <p:nvSpPr>
          <p:cNvPr id="63" name="Заголовок 4"/>
          <p:cNvSpPr txBox="1">
            <a:spLocks/>
          </p:cNvSpPr>
          <p:nvPr/>
        </p:nvSpPr>
        <p:spPr bwMode="auto">
          <a:xfrm>
            <a:off x="227963" y="856560"/>
            <a:ext cx="7781476" cy="300083"/>
          </a:xfrm>
          <a:prstGeom prst="rect">
            <a:avLst/>
          </a:prstGeom>
          <a:noFill/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74295" tIns="37148" rIns="74295" bIns="37148" rtlCol="0" anchor="ctr">
            <a:spAutoFit/>
          </a:bodyPr>
          <a:lstStyle>
            <a:lvl1pPr defTabSz="913984">
              <a:lnSpc>
                <a:spcPct val="90000"/>
              </a:lnSpc>
              <a:spcBef>
                <a:spcPct val="0"/>
              </a:spcBef>
              <a:buNone/>
              <a:defRPr sz="2000">
                <a:solidFill>
                  <a:prstClr val="black"/>
                </a:solidFill>
                <a:latin typeface="Arial"/>
              </a:defRPr>
            </a:lvl1pPr>
          </a:lstStyle>
          <a:p>
            <a:r>
              <a:rPr lang="ru-RU" sz="1625" dirty="0"/>
              <a:t>История оспаривания патентов </a:t>
            </a:r>
            <a:r>
              <a:rPr lang="en-US" sz="1625" dirty="0"/>
              <a:t>INNOVIA FILMS</a:t>
            </a:r>
            <a:r>
              <a:rPr lang="ru-RU" sz="1625" dirty="0"/>
              <a:t>  в ЕПВ</a:t>
            </a:r>
          </a:p>
        </p:txBody>
      </p:sp>
    </p:spTree>
    <p:extLst>
      <p:ext uri="{BB962C8B-B14F-4D97-AF65-F5344CB8AC3E}">
        <p14:creationId xmlns:p14="http://schemas.microsoft.com/office/powerpoint/2010/main" val="250783402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1505" y="928071"/>
            <a:ext cx="9128655" cy="423703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ru-RU" sz="1517" b="0" dirty="0"/>
              <a:t>Эффективный </a:t>
            </a:r>
            <a:r>
              <a:rPr lang="en-US" sz="1517" b="0" dirty="0"/>
              <a:t>IP-</a:t>
            </a:r>
            <a:r>
              <a:rPr lang="ru-RU" sz="1517" b="0" dirty="0"/>
              <a:t>менеджмент проектов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7941098" y="2254951"/>
            <a:ext cx="1562790" cy="253573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356301" y="2280076"/>
            <a:ext cx="1793661" cy="1518951"/>
          </a:xfrm>
          <a:prstGeom prst="rect">
            <a:avLst/>
          </a:pr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2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7915274" y="1698972"/>
            <a:ext cx="1602054" cy="545125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56511" algn="l"/>
              </a:tabLst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Внедрение</a:t>
            </a: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371172" y="1706713"/>
            <a:ext cx="1769018" cy="54453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иск идей для </a:t>
            </a: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&amp;D</a:t>
            </a: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роектов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2149960" y="1894865"/>
            <a:ext cx="1262190" cy="35638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цептуальные исследования</a:t>
            </a:r>
          </a:p>
        </p:txBody>
      </p:sp>
      <p:cxnSp>
        <p:nvCxnSpPr>
          <p:cNvPr id="10" name="Прямая со стрелкой 9"/>
          <p:cNvCxnSpPr/>
          <p:nvPr/>
        </p:nvCxnSpPr>
        <p:spPr bwMode="auto">
          <a:xfrm>
            <a:off x="291505" y="1583151"/>
            <a:ext cx="9309695" cy="12922"/>
          </a:xfrm>
          <a:prstGeom prst="straightConnector1">
            <a:avLst/>
          </a:prstGeom>
          <a:ln w="15875">
            <a:solidFill>
              <a:schemeClr val="accent1"/>
            </a:solidFill>
            <a:headEnd type="none" w="med" len="med"/>
            <a:tailEnd type="arrow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1" name="Picture 16" descr="Y:\IMD lite\Повышение экономической грамотности\Направление Обучение\МД и УМД\Источники информации\Иконки\chemistr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02" y="1307179"/>
            <a:ext cx="240251" cy="240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625353" y="1340232"/>
            <a:ext cx="1916465" cy="225016"/>
          </a:xfrm>
          <a:prstGeom prst="rect">
            <a:avLst/>
          </a:prstGeom>
          <a:noFill/>
        </p:spPr>
        <p:txBody>
          <a:bodyPr wrap="none" lIns="74253" tIns="37125" rIns="74253" bIns="37125" rtlCol="0">
            <a:spAutoFit/>
          </a:bodyPr>
          <a:lstStyle/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75" b="0" i="0" u="none" strike="noStrike" kern="120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Этапы движения</a:t>
            </a:r>
            <a:r>
              <a:rPr kumimoji="0" lang="en-US" sz="975" b="0" i="0" u="none" strike="noStrike" kern="120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R&amp;D</a:t>
            </a:r>
            <a:r>
              <a:rPr kumimoji="0" lang="ru-RU" sz="975" b="0" i="0" u="none" strike="noStrike" kern="1200" cap="none" spc="0" normalizeH="0" baseline="0" noProof="0" dirty="0">
                <a:ln>
                  <a:noFill/>
                </a:ln>
                <a:solidFill>
                  <a:srgbClr val="008C95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роекта</a:t>
            </a: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2149962" y="1691702"/>
            <a:ext cx="5765313" cy="203165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еализация </a:t>
            </a: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&amp;D </a:t>
            </a: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екта</a:t>
            </a: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2154525" y="2254951"/>
            <a:ext cx="5760750" cy="2535730"/>
          </a:xfrm>
          <a:prstGeom prst="rect">
            <a:avLst/>
          </a:prstGeom>
          <a:solidFill>
            <a:srgbClr val="1E8E6E">
              <a:alpha val="30980"/>
            </a:srgbClr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2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962237" y="2334794"/>
            <a:ext cx="2229014" cy="34227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marR="0" lvl="0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аключение о патентной чистоте (ПЧ) и патентоспособности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72019" y="2336561"/>
            <a:ext cx="3535611" cy="604846"/>
          </a:xfrm>
          <a:prstGeom prst="rect">
            <a:avLst/>
          </a:prstGeom>
          <a:solidFill>
            <a:schemeClr val="bg1">
              <a:lumMod val="95000"/>
            </a:schemeClr>
          </a:solidFill>
          <a:ln w="2222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marR="0" lvl="0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894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атентные ландшафты и </a:t>
            </a:r>
            <a:r>
              <a:rPr kumimoji="0" lang="en-US" altLang="ru-RU" sz="894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 </a:t>
            </a:r>
            <a:r>
              <a:rPr kumimoji="0" lang="ru-RU" altLang="ru-RU" sz="894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ртфолио компаний:</a:t>
            </a:r>
          </a:p>
          <a:p>
            <a:pPr marL="419187" marR="0" lvl="1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812" b="0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иск новых идей</a:t>
            </a:r>
          </a:p>
          <a:p>
            <a:pPr marL="419187" marR="0" lvl="1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812" b="0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зучение динамики патентования</a:t>
            </a:r>
          </a:p>
          <a:p>
            <a:pPr marL="419187" marR="0" lvl="1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812" b="0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нимание проблемных аспектов технологии/продукта </a:t>
            </a:r>
          </a:p>
        </p:txBody>
      </p:sp>
      <p:sp>
        <p:nvSpPr>
          <p:cNvPr id="17" name="TextBox 16"/>
          <p:cNvSpPr txBox="1"/>
          <p:nvPr/>
        </p:nvSpPr>
        <p:spPr>
          <a:xfrm>
            <a:off x="365407" y="2992036"/>
            <a:ext cx="3535818" cy="604846"/>
          </a:xfrm>
          <a:prstGeom prst="rect">
            <a:avLst/>
          </a:prstGeom>
          <a:solidFill>
            <a:srgbClr val="EEF0A6"/>
          </a:solidFill>
          <a:ln w="2222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marR="0" lvl="0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894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едварительная </a:t>
            </a:r>
            <a:r>
              <a:rPr kumimoji="0" lang="en-US" sz="894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</a:t>
            </a:r>
            <a:r>
              <a:rPr kumimoji="0" lang="ru-RU" sz="894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экспертиза идеи/проекта</a:t>
            </a:r>
            <a:r>
              <a:rPr kumimoji="0" lang="en-US" sz="894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94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EW)</a:t>
            </a:r>
            <a:endParaRPr kumimoji="0" lang="ru-RU" sz="894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291495" marR="0" lvl="0" indent="0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0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нимание на ранних стадиях «закрытых» и «свободных» </a:t>
            </a:r>
          </a:p>
          <a:p>
            <a:pPr marL="291495" marR="0" lvl="0" indent="0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0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направлений для реализации проекта.</a:t>
            </a:r>
          </a:p>
          <a:p>
            <a:pPr marL="291495" marR="0" lvl="0" indent="0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0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иски СИБУР и Риски Клиентов СИБУР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962237" y="2714407"/>
            <a:ext cx="3125693" cy="217304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marR="0" lvl="0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атентование базовых решений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957351" y="2994846"/>
            <a:ext cx="3962808" cy="217304"/>
          </a:xfrm>
          <a:prstGeom prst="rect">
            <a:avLst/>
          </a:prstGeom>
          <a:solidFill>
            <a:schemeClr val="bg1">
              <a:lumMod val="95000"/>
            </a:schemeClr>
          </a:solidFill>
          <a:ln w="2222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marR="0" lvl="0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атентование решений по масштабированию</a:t>
            </a:r>
            <a:endParaRPr kumimoji="0" lang="ru-RU" sz="812" b="0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3416600" y="4005733"/>
            <a:ext cx="2532410" cy="467244"/>
          </a:xfrm>
          <a:prstGeom prst="rect">
            <a:avLst/>
          </a:prstGeom>
          <a:solidFill>
            <a:schemeClr val="bg1">
              <a:lumMod val="95000"/>
            </a:schemeClr>
          </a:solidFill>
          <a:ln w="2222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marL="139299" marR="0" lvl="0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абота с патентными рисками</a:t>
            </a:r>
          </a:p>
          <a:p>
            <a:pPr marL="510763" marR="0" lvl="1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812" b="0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ценка рисков</a:t>
            </a:r>
          </a:p>
          <a:p>
            <a:pPr marL="510763" marR="0" lvl="1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ourier New" panose="02070309020205020404" pitchFamily="49" charset="0"/>
              <a:buChar char="o"/>
              <a:tabLst/>
              <a:defRPr/>
            </a:pPr>
            <a:r>
              <a:rPr kumimoji="0" lang="ru-RU" sz="812" b="0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рограмма митигации рисков</a:t>
            </a:r>
          </a:p>
        </p:txBody>
      </p:sp>
      <p:sp>
        <p:nvSpPr>
          <p:cNvPr id="21" name="Прямоугольник 20"/>
          <p:cNvSpPr/>
          <p:nvPr/>
        </p:nvSpPr>
        <p:spPr bwMode="auto">
          <a:xfrm>
            <a:off x="368731" y="5425273"/>
            <a:ext cx="9146154" cy="204750"/>
          </a:xfrm>
          <a:prstGeom prst="rect">
            <a:avLst/>
          </a:prstGeom>
          <a:solidFill>
            <a:schemeClr val="accent2">
              <a:lumMod val="75000"/>
              <a:lumOff val="2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СНОВОПОЛАГАЮЩИЕ ПРИНЦИПЫ </a:t>
            </a: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-</a:t>
            </a: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ЕНЕДЖМЕНТА ПРОЕКТОВ </a:t>
            </a:r>
          </a:p>
        </p:txBody>
      </p:sp>
      <p:sp>
        <p:nvSpPr>
          <p:cNvPr id="22" name="Прямоугольник 21"/>
          <p:cNvSpPr/>
          <p:nvPr/>
        </p:nvSpPr>
        <p:spPr bwMode="auto">
          <a:xfrm>
            <a:off x="368731" y="5615794"/>
            <a:ext cx="9146155" cy="648821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32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807172" y="5621375"/>
            <a:ext cx="1968628" cy="342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Риск-ориентированный </a:t>
            </a:r>
          </a:p>
          <a:p>
            <a:pPr marL="0" marR="0" lvl="0" indent="0" algn="ctr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одход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928083" y="5909247"/>
            <a:ext cx="1965100" cy="342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CC00"/>
              </a:buClr>
              <a:buSzTx/>
              <a:buFontTx/>
              <a:buNone/>
              <a:tabLst/>
              <a:defRPr/>
            </a:pPr>
            <a:r>
              <a:rPr kumimoji="0" lang="ru-RU" altLang="ru-RU" sz="81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воевременное выявление и </a:t>
            </a:r>
            <a:r>
              <a:rPr kumimoji="0" lang="ru-RU" altLang="ru-RU" sz="812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итигация</a:t>
            </a:r>
            <a:r>
              <a:rPr kumimoji="0" lang="ru-RU" altLang="ru-RU" sz="81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патентных рисков</a:t>
            </a:r>
            <a:endParaRPr kumimoji="0" lang="ru-RU" sz="81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5088958" y="5621375"/>
            <a:ext cx="2146216" cy="342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силение </a:t>
            </a:r>
          </a:p>
          <a:p>
            <a:pPr marL="0" marR="0" lvl="0" indent="0" algn="ctr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атентной защищенности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5175344" y="5909247"/>
            <a:ext cx="2037397" cy="342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ctr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CC00"/>
              </a:buClr>
              <a:buSzTx/>
              <a:buFontTx/>
              <a:buNone/>
              <a:tabLst/>
              <a:defRPr/>
            </a:pPr>
            <a:r>
              <a:rPr kumimoji="0" lang="ru-RU" altLang="ru-RU" sz="81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величение количества </a:t>
            </a:r>
          </a:p>
          <a:p>
            <a:pPr marL="0" marR="0" lvl="1" indent="0" algn="ctr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CC00"/>
              </a:buClr>
              <a:buSzTx/>
              <a:buFontTx/>
              <a:buNone/>
              <a:tabLst/>
              <a:defRPr/>
            </a:pPr>
            <a:r>
              <a:rPr kumimoji="0" lang="ru-RU" altLang="ru-RU" sz="81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«сильных» патентов</a:t>
            </a:r>
            <a:endParaRPr kumimoji="0" lang="ru-RU" sz="81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7548333" y="5621375"/>
            <a:ext cx="1191352" cy="21730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Договорная работа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7436202" y="5909247"/>
            <a:ext cx="1983958" cy="342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CC00"/>
              </a:buClr>
              <a:buSzTx/>
              <a:buFontTx/>
              <a:buNone/>
              <a:tabLst/>
              <a:defRPr/>
            </a:pPr>
            <a:r>
              <a:rPr kumimoji="0" lang="ru-RU" altLang="ru-RU" sz="812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итигация</a:t>
            </a:r>
            <a:r>
              <a:rPr kumimoji="0" lang="ru-RU" altLang="ru-RU" sz="81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рисков несоблюдения </a:t>
            </a:r>
            <a:r>
              <a:rPr kumimoji="0" lang="en-US" altLang="ru-RU" sz="81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-</a:t>
            </a:r>
            <a:r>
              <a:rPr kumimoji="0" lang="ru-RU" altLang="ru-RU" sz="81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словий в Договорах</a:t>
            </a:r>
            <a:endParaRPr kumimoji="0" lang="ru-RU" sz="81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291505" y="1640451"/>
            <a:ext cx="9309695" cy="4687197"/>
          </a:xfrm>
          <a:prstGeom prst="rect">
            <a:avLst/>
          </a:prstGeom>
          <a:noFill/>
          <a:ln w="222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2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3412151" y="1894865"/>
            <a:ext cx="1135360" cy="35638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абораторные исследования</a:t>
            </a: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4547509" y="1894530"/>
            <a:ext cx="1643740" cy="35638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асштабирование и Оптимизация</a:t>
            </a:r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6191250" y="1894530"/>
            <a:ext cx="1724024" cy="35638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пытно промышленные</a:t>
            </a:r>
            <a:endParaRPr kumimoji="0" lang="en-US" sz="812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пытания </a:t>
            </a:r>
          </a:p>
        </p:txBody>
      </p:sp>
      <p:grpSp>
        <p:nvGrpSpPr>
          <p:cNvPr id="33" name="Группа 32"/>
          <p:cNvGrpSpPr/>
          <p:nvPr/>
        </p:nvGrpSpPr>
        <p:grpSpPr>
          <a:xfrm>
            <a:off x="5995100" y="4006874"/>
            <a:ext cx="2721201" cy="467244"/>
            <a:chOff x="3832633" y="2422607"/>
            <a:chExt cx="4043133" cy="57507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34" name="Прямоугольник 33"/>
            <p:cNvSpPr/>
            <p:nvPr/>
          </p:nvSpPr>
          <p:spPr bwMode="auto">
            <a:xfrm>
              <a:off x="3832633" y="2425392"/>
              <a:ext cx="4043133" cy="565195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2225" cap="flat" cmpd="sng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742927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812" b="1" i="0" u="none" strike="noStrike" kern="120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4119231" y="2422607"/>
              <a:ext cx="3688051" cy="575070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>
              <a:spAutoFit/>
            </a:bodyPr>
            <a:lstStyle/>
            <a:p>
              <a:pPr marL="139299" marR="0" lvl="0" indent="-139299" algn="l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812" b="1" i="0" u="none" strike="noStrike" kern="1200" cap="none" spc="0" normalizeH="0" baseline="0" noProof="0" dirty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Мониторинг патентной активности</a:t>
              </a:r>
            </a:p>
            <a:p>
              <a:pPr marL="0" marR="0" lvl="0" indent="0" algn="l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12" b="1" i="0" u="none" strike="noStrike" kern="1200" cap="none" spc="0" normalizeH="0" baseline="0" noProof="0" dirty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конкурентов</a:t>
              </a:r>
            </a:p>
            <a:p>
              <a:pPr marL="0" marR="0" lvl="0" indent="0" algn="l" defTabSz="74292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12" b="1" i="0" u="none" strike="noStrike" kern="1200" cap="none" spc="0" normalizeH="0" baseline="0" noProof="0" dirty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     </a:t>
              </a:r>
              <a:r>
                <a:rPr kumimoji="0" lang="ru-RU" sz="812" b="0" i="0" u="none" strike="noStrike" kern="1200" cap="none" spc="0" normalizeH="0" baseline="0" noProof="0" dirty="0">
                  <a:ln>
                    <a:noFill/>
                  </a:ln>
                  <a:solidFill>
                    <a:srgbClr val="003D4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выявление новых заявок и патентов </a:t>
              </a:r>
            </a:p>
          </p:txBody>
        </p:sp>
      </p:grpSp>
      <p:sp>
        <p:nvSpPr>
          <p:cNvPr id="37" name="TextBox 36"/>
          <p:cNvSpPr txBox="1"/>
          <p:nvPr/>
        </p:nvSpPr>
        <p:spPr>
          <a:xfrm>
            <a:off x="3954910" y="3249968"/>
            <a:ext cx="3962808" cy="217304"/>
          </a:xfrm>
          <a:prstGeom prst="rect">
            <a:avLst/>
          </a:prstGeom>
          <a:solidFill>
            <a:schemeClr val="bg1">
              <a:lumMod val="95000"/>
            </a:schemeClr>
          </a:solidFill>
          <a:ln w="2222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marR="0" lvl="0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атентование решений по оптимизации</a:t>
            </a:r>
            <a:endParaRPr kumimoji="0" lang="ru-RU" sz="812" b="0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368731" y="5621375"/>
            <a:ext cx="2125281" cy="342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атентная </a:t>
            </a:r>
          </a:p>
          <a:p>
            <a:pPr marL="0" marR="0" lvl="0" indent="0" algn="ctr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сведомленность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05881" y="5909247"/>
            <a:ext cx="2190031" cy="342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79888" marR="0" lvl="1" indent="0" algn="just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CC00"/>
              </a:buClr>
              <a:buSzTx/>
              <a:buFontTx/>
              <a:buNone/>
              <a:tabLst/>
              <a:defRPr/>
            </a:pPr>
            <a:r>
              <a:rPr kumimoji="0" lang="ru-RU" altLang="ru-RU" sz="812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зучение патентов конкурентов и мониторинг их активности</a:t>
            </a:r>
            <a:endParaRPr kumimoji="0" lang="ru-RU" sz="812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Box 47"/>
          <p:cNvSpPr txBox="1"/>
          <p:nvPr/>
        </p:nvSpPr>
        <p:spPr>
          <a:xfrm>
            <a:off x="8057665" y="2346744"/>
            <a:ext cx="1343030" cy="34227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marR="0" lvl="0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ктуализация ПЧ с учетом географии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4542625" y="3491374"/>
            <a:ext cx="3377535" cy="367537"/>
          </a:xfrm>
          <a:prstGeom prst="rect">
            <a:avLst/>
          </a:prstGeom>
          <a:solidFill>
            <a:srgbClr val="EEF0A6"/>
          </a:solidFill>
          <a:ln w="22225">
            <a:solidFill>
              <a:srgbClr val="008C95"/>
            </a:solidFill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marL="139299" indent="-139299" defTabSz="742927">
              <a:buFont typeface="Wingdings" panose="05000000000000000000" pitchFamily="2" charset="2"/>
              <a:buChar char="§"/>
              <a:defRPr sz="894" b="1">
                <a:solidFill>
                  <a:schemeClr val="tx2"/>
                </a:solidFill>
                <a:latin typeface="Arial"/>
              </a:defRPr>
            </a:lvl1pPr>
          </a:lstStyle>
          <a:p>
            <a:pPr marL="139299" marR="0" lvl="0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894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Пересмотр патентного портфолио</a:t>
            </a:r>
            <a:r>
              <a:rPr kumimoji="0" lang="en-US" sz="894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94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EW)</a:t>
            </a:r>
            <a:endParaRPr kumimoji="0" lang="ru-RU" sz="894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139299" marR="0" lvl="0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ru-RU" sz="894" b="1" i="0" u="none" strike="noStrike" kern="1200" cap="none" spc="0" normalizeH="0" baseline="0" noProof="0" dirty="0">
              <a:ln>
                <a:noFill/>
              </a:ln>
              <a:solidFill>
                <a:srgbClr val="003D4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548751" y="3743982"/>
            <a:ext cx="3376294" cy="217304"/>
          </a:xfrm>
          <a:prstGeom prst="rect">
            <a:avLst/>
          </a:prstGeom>
          <a:solidFill>
            <a:schemeClr val="bg1">
              <a:lumMod val="95000"/>
            </a:schemeClr>
          </a:solidFill>
          <a:ln w="2222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marR="0" lvl="0" indent="-139299" algn="l" defTabSz="603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бор </a:t>
            </a: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P-</a:t>
            </a: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атрат и их распределение</a:t>
            </a:r>
            <a:r>
              <a:rPr kumimoji="0" lang="en-US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EW)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3416650" y="4501880"/>
            <a:ext cx="2532360" cy="217304"/>
          </a:xfrm>
          <a:prstGeom prst="rect">
            <a:avLst/>
          </a:prstGeom>
          <a:solidFill>
            <a:schemeClr val="bg1">
              <a:lumMod val="95000"/>
            </a:schemeClr>
          </a:solidFill>
          <a:ln w="2222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marR="0" lvl="0" indent="-139299" algn="l" defTabSz="603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Авторские выплаты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5992375" y="4506657"/>
            <a:ext cx="2723925" cy="217304"/>
          </a:xfrm>
          <a:prstGeom prst="rect">
            <a:avLst/>
          </a:prstGeom>
          <a:solidFill>
            <a:schemeClr val="bg1">
              <a:lumMod val="95000"/>
            </a:schemeClr>
          </a:solidFill>
          <a:ln w="2222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marR="0" lvl="0" indent="-139299" algn="l" defTabSz="603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Оплата патентных пошлин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6300298" y="2321480"/>
            <a:ext cx="1502670" cy="367537"/>
          </a:xfrm>
          <a:prstGeom prst="rect">
            <a:avLst/>
          </a:prstGeom>
          <a:solidFill>
            <a:srgbClr val="EEF0A6"/>
          </a:solidFill>
          <a:ln w="2222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marR="0" lvl="0" indent="-139299" algn="l" defTabSz="7429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894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Заключение о ПЧ для Клиентов</a:t>
            </a:r>
            <a:r>
              <a:rPr kumimoji="0" lang="en-US" sz="894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en-US" sz="894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EW)</a:t>
            </a:r>
            <a:endParaRPr kumimoji="0" lang="ru-RU" sz="894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Прямоугольник 43"/>
          <p:cNvSpPr/>
          <p:nvPr/>
        </p:nvSpPr>
        <p:spPr bwMode="auto">
          <a:xfrm>
            <a:off x="2149960" y="4843713"/>
            <a:ext cx="7363698" cy="540625"/>
          </a:xfrm>
          <a:prstGeom prst="rect">
            <a:avLst/>
          </a:pr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74292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462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2219482" y="4909705"/>
            <a:ext cx="7284405" cy="217304"/>
          </a:xfrm>
          <a:prstGeom prst="rect">
            <a:avLst/>
          </a:prstGeom>
          <a:solidFill>
            <a:schemeClr val="bg1">
              <a:lumMod val="95000"/>
            </a:schemeClr>
          </a:solidFill>
          <a:ln w="2222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marR="0" lvl="0" indent="-139299" algn="l" defTabSz="6036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812" b="1" i="0" u="none" strike="noStrike" kern="1200" cap="none" spc="0" normalizeH="0" baseline="0" noProof="0" dirty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чет и Капитализация НМА </a:t>
            </a: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(NEW)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9801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91505" y="928071"/>
            <a:ext cx="9128655" cy="423703"/>
          </a:xfrm>
        </p:spPr>
        <p:txBody>
          <a:bodyPr vert="horz" lIns="0" tIns="0" rIns="0" bIns="0" rtlCol="0" anchor="t">
            <a:noAutofit/>
          </a:bodyPr>
          <a:lstStyle/>
          <a:p>
            <a:r>
              <a:rPr lang="en-US" sz="1517" b="0" dirty="0"/>
              <a:t>IP-</a:t>
            </a:r>
            <a:r>
              <a:rPr lang="ru-RU" sz="1517" b="0" dirty="0"/>
              <a:t>менеджмент проектов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7922469" y="2261499"/>
            <a:ext cx="1602053" cy="244429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defTabSz="742927" fontAlgn="base">
              <a:spcBef>
                <a:spcPct val="0"/>
              </a:spcBef>
              <a:spcAft>
                <a:spcPct val="0"/>
              </a:spcAft>
            </a:pPr>
            <a:endParaRPr lang="ru-RU" sz="1462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356301" y="2280076"/>
            <a:ext cx="1793661" cy="1518951"/>
          </a:xfrm>
          <a:prstGeom prst="rect">
            <a:avLst/>
          </a:prstGeom>
          <a:pattFill prst="wdUpDiag">
            <a:fgClr>
              <a:schemeClr val="bg1">
                <a:lumMod val="95000"/>
              </a:schemeClr>
            </a:fgClr>
            <a:bgClr>
              <a:schemeClr val="bg1"/>
            </a:bgClr>
          </a:pattFill>
          <a:ln w="9525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defTabSz="742927" fontAlgn="base">
              <a:spcBef>
                <a:spcPct val="0"/>
              </a:spcBef>
              <a:spcAft>
                <a:spcPct val="0"/>
              </a:spcAft>
            </a:pPr>
            <a:endParaRPr lang="ru-RU" sz="1462" b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7915274" y="1698972"/>
            <a:ext cx="1602054" cy="545125"/>
          </a:xfrm>
          <a:prstGeom prst="rect">
            <a:avLst/>
          </a:prstGeom>
          <a:solidFill>
            <a:schemeClr val="accent4">
              <a:lumMod val="75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42927" fontAlgn="base">
              <a:spcBef>
                <a:spcPct val="0"/>
              </a:spcBef>
              <a:spcAft>
                <a:spcPct val="0"/>
              </a:spcAft>
              <a:tabLst>
                <a:tab pos="656511" algn="l"/>
              </a:tabLst>
            </a:pPr>
            <a:r>
              <a:rPr lang="ru-RU" sz="812" b="1" dirty="0">
                <a:solidFill>
                  <a:prstClr val="white"/>
                </a:solidFill>
                <a:latin typeface="Arial"/>
              </a:rPr>
              <a:t>Внедрение</a:t>
            </a: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371172" y="1706713"/>
            <a:ext cx="1769018" cy="544535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42927" fontAlgn="base">
              <a:spcBef>
                <a:spcPct val="0"/>
              </a:spcBef>
              <a:spcAft>
                <a:spcPct val="0"/>
              </a:spcAft>
            </a:pPr>
            <a:r>
              <a:rPr lang="ru-RU" sz="812" b="1" dirty="0">
                <a:solidFill>
                  <a:srgbClr val="003D4C"/>
                </a:solidFill>
                <a:latin typeface="Arial"/>
              </a:rPr>
              <a:t>Поиск идей для </a:t>
            </a:r>
            <a:r>
              <a:rPr lang="en-US" sz="812" b="1" dirty="0">
                <a:solidFill>
                  <a:srgbClr val="003D4C"/>
                </a:solidFill>
                <a:latin typeface="Arial"/>
              </a:rPr>
              <a:t>R&amp;D</a:t>
            </a:r>
            <a:r>
              <a:rPr lang="ru-RU" sz="812" b="1" dirty="0">
                <a:solidFill>
                  <a:srgbClr val="003D4C"/>
                </a:solidFill>
                <a:latin typeface="Arial"/>
              </a:rPr>
              <a:t> проектов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2149960" y="1894865"/>
            <a:ext cx="1262190" cy="35638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42927" fontAlgn="base">
              <a:spcBef>
                <a:spcPct val="0"/>
              </a:spcBef>
              <a:spcAft>
                <a:spcPct val="0"/>
              </a:spcAft>
            </a:pPr>
            <a:r>
              <a:rPr lang="ru-RU" sz="812" b="1" dirty="0">
                <a:solidFill>
                  <a:prstClr val="white"/>
                </a:solidFill>
                <a:latin typeface="Arial"/>
              </a:rPr>
              <a:t>Концептуальные исследования</a:t>
            </a:r>
          </a:p>
        </p:txBody>
      </p:sp>
      <p:cxnSp>
        <p:nvCxnSpPr>
          <p:cNvPr id="10" name="Прямая со стрелкой 9"/>
          <p:cNvCxnSpPr/>
          <p:nvPr/>
        </p:nvCxnSpPr>
        <p:spPr bwMode="auto">
          <a:xfrm>
            <a:off x="291505" y="1583151"/>
            <a:ext cx="9309695" cy="12922"/>
          </a:xfrm>
          <a:prstGeom prst="straightConnector1">
            <a:avLst/>
          </a:prstGeom>
          <a:ln w="15875">
            <a:solidFill>
              <a:schemeClr val="accent1"/>
            </a:solidFill>
            <a:headEnd type="none" w="med" len="med"/>
            <a:tailEnd type="arrow"/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1" name="Picture 16" descr="Y:\IMD lite\Повышение экономической грамотности\Направление Обучение\МД и УМД\Источники информации\Иконки\chemistr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102" y="1307179"/>
            <a:ext cx="240251" cy="240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extBox 11"/>
          <p:cNvSpPr txBox="1"/>
          <p:nvPr/>
        </p:nvSpPr>
        <p:spPr>
          <a:xfrm>
            <a:off x="625353" y="1340232"/>
            <a:ext cx="1916465" cy="225016"/>
          </a:xfrm>
          <a:prstGeom prst="rect">
            <a:avLst/>
          </a:prstGeom>
          <a:noFill/>
        </p:spPr>
        <p:txBody>
          <a:bodyPr wrap="none" lIns="74253" tIns="37125" rIns="74253" bIns="37125" rtlCol="0">
            <a:spAutoFit/>
          </a:bodyPr>
          <a:lstStyle/>
          <a:p>
            <a:pPr defTabSz="742927"/>
            <a:r>
              <a:rPr lang="ru-RU" sz="975" dirty="0">
                <a:solidFill>
                  <a:srgbClr val="008C95"/>
                </a:solidFill>
                <a:latin typeface="Arial"/>
              </a:rPr>
              <a:t>Этапы движения</a:t>
            </a:r>
            <a:r>
              <a:rPr lang="en-US" sz="975" dirty="0">
                <a:solidFill>
                  <a:srgbClr val="008C95"/>
                </a:solidFill>
                <a:latin typeface="Arial"/>
              </a:rPr>
              <a:t> R&amp;D</a:t>
            </a:r>
            <a:r>
              <a:rPr lang="ru-RU" sz="975" dirty="0">
                <a:solidFill>
                  <a:srgbClr val="008C95"/>
                </a:solidFill>
                <a:latin typeface="Arial"/>
              </a:rPr>
              <a:t> проекта</a:t>
            </a:r>
          </a:p>
        </p:txBody>
      </p:sp>
      <p:sp>
        <p:nvSpPr>
          <p:cNvPr id="13" name="Прямоугольник 12"/>
          <p:cNvSpPr/>
          <p:nvPr/>
        </p:nvSpPr>
        <p:spPr bwMode="auto">
          <a:xfrm>
            <a:off x="2149962" y="1691702"/>
            <a:ext cx="5765313" cy="203165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42927" fontAlgn="base">
              <a:spcBef>
                <a:spcPct val="0"/>
              </a:spcBef>
              <a:spcAft>
                <a:spcPct val="0"/>
              </a:spcAft>
            </a:pPr>
            <a:r>
              <a:rPr lang="ru-RU" sz="812" b="1" dirty="0">
                <a:solidFill>
                  <a:prstClr val="white"/>
                </a:solidFill>
                <a:latin typeface="Arial"/>
              </a:rPr>
              <a:t>Реализация </a:t>
            </a:r>
            <a:r>
              <a:rPr lang="en-US" sz="812" b="1" dirty="0">
                <a:solidFill>
                  <a:prstClr val="white"/>
                </a:solidFill>
                <a:latin typeface="Arial"/>
              </a:rPr>
              <a:t>R&amp;D </a:t>
            </a:r>
            <a:r>
              <a:rPr lang="ru-RU" sz="812" b="1" dirty="0">
                <a:solidFill>
                  <a:prstClr val="white"/>
                </a:solidFill>
                <a:latin typeface="Arial"/>
              </a:rPr>
              <a:t>проекта</a:t>
            </a:r>
          </a:p>
        </p:txBody>
      </p:sp>
      <p:sp>
        <p:nvSpPr>
          <p:cNvPr id="14" name="Прямоугольник 13"/>
          <p:cNvSpPr/>
          <p:nvPr/>
        </p:nvSpPr>
        <p:spPr bwMode="auto">
          <a:xfrm>
            <a:off x="2154525" y="2254951"/>
            <a:ext cx="5760750" cy="2444294"/>
          </a:xfrm>
          <a:prstGeom prst="rect">
            <a:avLst/>
          </a:prstGeom>
          <a:solidFill>
            <a:srgbClr val="1E8E6E">
              <a:alpha val="30980"/>
            </a:srgbClr>
          </a:solidFill>
          <a:ln w="95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defTabSz="742927" fontAlgn="base">
              <a:spcBef>
                <a:spcPct val="0"/>
              </a:spcBef>
              <a:spcAft>
                <a:spcPct val="0"/>
              </a:spcAft>
            </a:pPr>
            <a:endParaRPr lang="ru-RU" sz="1462" b="1" dirty="0">
              <a:solidFill>
                <a:prstClr val="black"/>
              </a:solidFill>
              <a:latin typeface="Arial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962237" y="2334794"/>
            <a:ext cx="2145647" cy="342273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indent="-139299" defTabSz="742927">
              <a:buFont typeface="Wingdings" panose="05000000000000000000" pitchFamily="2" charset="2"/>
              <a:buChar char="§"/>
            </a:pPr>
            <a:r>
              <a:rPr lang="ru-RU" sz="812" b="1" dirty="0">
                <a:solidFill>
                  <a:srgbClr val="003D4C"/>
                </a:solidFill>
                <a:latin typeface="Arial"/>
              </a:rPr>
              <a:t>Заключение о патентной чистоте (ПЧ) и патентоспособности 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372019" y="2336561"/>
            <a:ext cx="3535611" cy="604846"/>
          </a:xfrm>
          <a:prstGeom prst="rect">
            <a:avLst/>
          </a:prstGeom>
          <a:solidFill>
            <a:schemeClr val="bg1">
              <a:lumMod val="95000"/>
            </a:schemeClr>
          </a:solidFill>
          <a:ln w="2222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indent="-139299" defTabSz="742927">
              <a:buFont typeface="Wingdings" panose="05000000000000000000" pitchFamily="2" charset="2"/>
              <a:buChar char="§"/>
              <a:defRPr/>
            </a:pPr>
            <a:r>
              <a:rPr lang="ru-RU" altLang="ru-RU" sz="894" b="1" dirty="0">
                <a:solidFill>
                  <a:srgbClr val="003D4C"/>
                </a:solidFill>
                <a:latin typeface="Arial"/>
              </a:rPr>
              <a:t>Патентные ландшафты и </a:t>
            </a:r>
            <a:r>
              <a:rPr lang="en-US" altLang="ru-RU" sz="894" b="1" dirty="0">
                <a:solidFill>
                  <a:srgbClr val="003D4C"/>
                </a:solidFill>
                <a:latin typeface="Arial"/>
              </a:rPr>
              <a:t>IP </a:t>
            </a:r>
            <a:r>
              <a:rPr lang="ru-RU" altLang="ru-RU" sz="894" b="1" dirty="0">
                <a:solidFill>
                  <a:srgbClr val="003D4C"/>
                </a:solidFill>
                <a:latin typeface="Arial"/>
              </a:rPr>
              <a:t>портфолио компаний:</a:t>
            </a:r>
          </a:p>
          <a:p>
            <a:pPr marL="419187" lvl="1" indent="-139299" defTabSz="742927">
              <a:buFont typeface="Courier New" panose="02070309020205020404" pitchFamily="49" charset="0"/>
              <a:buChar char="o"/>
              <a:defRPr/>
            </a:pPr>
            <a:r>
              <a:rPr lang="ru-RU" sz="812" dirty="0">
                <a:solidFill>
                  <a:srgbClr val="003D4C"/>
                </a:solidFill>
                <a:latin typeface="Arial"/>
              </a:rPr>
              <a:t>поиск новых идей</a:t>
            </a:r>
          </a:p>
          <a:p>
            <a:pPr marL="419187" lvl="1" indent="-139299" defTabSz="742927">
              <a:buFont typeface="Courier New" panose="02070309020205020404" pitchFamily="49" charset="0"/>
              <a:buChar char="o"/>
              <a:defRPr/>
            </a:pPr>
            <a:r>
              <a:rPr lang="ru-RU" sz="812" dirty="0">
                <a:solidFill>
                  <a:srgbClr val="003D4C"/>
                </a:solidFill>
                <a:latin typeface="Arial"/>
              </a:rPr>
              <a:t>изучение динамики патентования</a:t>
            </a:r>
          </a:p>
          <a:p>
            <a:pPr marL="419187" lvl="1" indent="-139299" defTabSz="742927">
              <a:buFont typeface="Courier New" panose="02070309020205020404" pitchFamily="49" charset="0"/>
              <a:buChar char="o"/>
              <a:defRPr/>
            </a:pPr>
            <a:r>
              <a:rPr lang="ru-RU" sz="812" dirty="0">
                <a:solidFill>
                  <a:srgbClr val="003D4C"/>
                </a:solidFill>
                <a:latin typeface="Arial"/>
              </a:rPr>
              <a:t>понимание проблемных аспектов технологии/продукта 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964961" y="2809337"/>
            <a:ext cx="3125693" cy="217304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indent="-139299" defTabSz="742927">
              <a:buFont typeface="Wingdings" panose="05000000000000000000" pitchFamily="2" charset="2"/>
              <a:buChar char="§"/>
            </a:pPr>
            <a:r>
              <a:rPr lang="ru-RU" sz="812" b="1" dirty="0">
                <a:solidFill>
                  <a:srgbClr val="003D4C"/>
                </a:solidFill>
                <a:latin typeface="Arial"/>
              </a:rPr>
              <a:t>Патентование базовых решений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3956064" y="3104529"/>
            <a:ext cx="3962808" cy="217304"/>
          </a:xfrm>
          <a:prstGeom prst="rect">
            <a:avLst/>
          </a:prstGeom>
          <a:solidFill>
            <a:schemeClr val="bg1">
              <a:lumMod val="95000"/>
            </a:schemeClr>
          </a:solidFill>
          <a:ln w="2222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indent="-139299" defTabSz="742927">
              <a:buFont typeface="Wingdings" panose="05000000000000000000" pitchFamily="2" charset="2"/>
              <a:buChar char="§"/>
            </a:pPr>
            <a:r>
              <a:rPr lang="ru-RU" sz="812" b="1" dirty="0">
                <a:solidFill>
                  <a:srgbClr val="003D4C"/>
                </a:solidFill>
                <a:latin typeface="Arial"/>
              </a:rPr>
              <a:t>Патентование решений по масштабированию</a:t>
            </a:r>
            <a:endParaRPr lang="ru-RU" sz="812" dirty="0">
              <a:solidFill>
                <a:srgbClr val="003D4C"/>
              </a:solidFill>
              <a:latin typeface="Arial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5379089" y="3522356"/>
            <a:ext cx="1921449" cy="467244"/>
          </a:xfrm>
          <a:prstGeom prst="rect">
            <a:avLst/>
          </a:prstGeom>
          <a:solidFill>
            <a:schemeClr val="bg1">
              <a:lumMod val="95000"/>
            </a:schemeClr>
          </a:solidFill>
          <a:ln w="22225">
            <a:solidFill>
              <a:schemeClr val="accent6">
                <a:lumMod val="60000"/>
                <a:lumOff val="40000"/>
              </a:schemeClr>
            </a:solidFill>
          </a:ln>
        </p:spPr>
        <p:txBody>
          <a:bodyPr wrap="square">
            <a:spAutoFit/>
          </a:bodyPr>
          <a:lstStyle/>
          <a:p>
            <a:pPr marL="139299" indent="-139299" defTabSz="742927">
              <a:buFont typeface="Wingdings" panose="05000000000000000000" pitchFamily="2" charset="2"/>
              <a:buChar char="§"/>
            </a:pPr>
            <a:r>
              <a:rPr lang="ru-RU" sz="812" b="1" dirty="0">
                <a:solidFill>
                  <a:srgbClr val="003D4C"/>
                </a:solidFill>
                <a:latin typeface="Arial"/>
              </a:rPr>
              <a:t>Работа с патентными рисками</a:t>
            </a:r>
          </a:p>
          <a:p>
            <a:pPr marL="265113" lvl="1" indent="-138113" defTabSz="742927">
              <a:buFont typeface="Courier New" panose="02070309020205020404" pitchFamily="49" charset="0"/>
              <a:buChar char="o"/>
            </a:pPr>
            <a:r>
              <a:rPr lang="ru-RU" sz="812" dirty="0">
                <a:solidFill>
                  <a:srgbClr val="003D4C"/>
                </a:solidFill>
                <a:latin typeface="Arial"/>
              </a:rPr>
              <a:t>оценка рисков</a:t>
            </a:r>
          </a:p>
          <a:p>
            <a:pPr marL="265113" lvl="1" indent="-138113" defTabSz="742927">
              <a:buFont typeface="Courier New" panose="02070309020205020404" pitchFamily="49" charset="0"/>
              <a:buChar char="o"/>
            </a:pPr>
            <a:r>
              <a:rPr lang="ru-RU" sz="812" dirty="0">
                <a:solidFill>
                  <a:srgbClr val="003D4C"/>
                </a:solidFill>
                <a:latin typeface="Arial"/>
              </a:rPr>
              <a:t>программа митигации рисков</a:t>
            </a:r>
          </a:p>
        </p:txBody>
      </p:sp>
      <p:sp>
        <p:nvSpPr>
          <p:cNvPr id="29" name="Прямоугольник 28"/>
          <p:cNvSpPr/>
          <p:nvPr/>
        </p:nvSpPr>
        <p:spPr bwMode="auto">
          <a:xfrm>
            <a:off x="291505" y="1640451"/>
            <a:ext cx="9309695" cy="3205869"/>
          </a:xfrm>
          <a:prstGeom prst="rect">
            <a:avLst/>
          </a:prstGeom>
          <a:noFill/>
          <a:ln w="22225" cap="flat" cmpd="sng" algn="ctr">
            <a:solidFill>
              <a:schemeClr val="bg2">
                <a:lumMod val="5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defTabSz="742927" fontAlgn="base">
              <a:spcBef>
                <a:spcPct val="0"/>
              </a:spcBef>
              <a:spcAft>
                <a:spcPct val="0"/>
              </a:spcAft>
            </a:pPr>
            <a:endParaRPr lang="ru-RU" sz="1462" b="1">
              <a:solidFill>
                <a:prstClr val="black"/>
              </a:solidFill>
              <a:latin typeface="Arial"/>
            </a:endParaRPr>
          </a:p>
        </p:txBody>
      </p:sp>
      <p:sp>
        <p:nvSpPr>
          <p:cNvPr id="30" name="Прямоугольник 29"/>
          <p:cNvSpPr/>
          <p:nvPr/>
        </p:nvSpPr>
        <p:spPr bwMode="auto">
          <a:xfrm>
            <a:off x="3412151" y="1894865"/>
            <a:ext cx="1135360" cy="35638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42927" fontAlgn="base">
              <a:spcBef>
                <a:spcPct val="0"/>
              </a:spcBef>
              <a:spcAft>
                <a:spcPct val="0"/>
              </a:spcAft>
            </a:pPr>
            <a:r>
              <a:rPr lang="ru-RU" sz="812" b="1" dirty="0">
                <a:solidFill>
                  <a:prstClr val="white"/>
                </a:solidFill>
                <a:latin typeface="Arial"/>
              </a:rPr>
              <a:t>Лабораторные исследования</a:t>
            </a:r>
          </a:p>
        </p:txBody>
      </p:sp>
      <p:sp>
        <p:nvSpPr>
          <p:cNvPr id="31" name="Прямоугольник 30"/>
          <p:cNvSpPr/>
          <p:nvPr/>
        </p:nvSpPr>
        <p:spPr bwMode="auto">
          <a:xfrm>
            <a:off x="4547509" y="1894530"/>
            <a:ext cx="1643740" cy="35638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42927" fontAlgn="base">
              <a:spcBef>
                <a:spcPct val="0"/>
              </a:spcBef>
              <a:spcAft>
                <a:spcPct val="0"/>
              </a:spcAft>
            </a:pPr>
            <a:r>
              <a:rPr lang="ru-RU" sz="812" b="1" dirty="0">
                <a:solidFill>
                  <a:prstClr val="white"/>
                </a:solidFill>
                <a:latin typeface="Arial"/>
              </a:rPr>
              <a:t>Масштабирование и Оптимизация</a:t>
            </a:r>
          </a:p>
        </p:txBody>
      </p:sp>
      <p:sp>
        <p:nvSpPr>
          <p:cNvPr id="32" name="Прямоугольник 31"/>
          <p:cNvSpPr/>
          <p:nvPr/>
        </p:nvSpPr>
        <p:spPr bwMode="auto">
          <a:xfrm>
            <a:off x="6191250" y="1894530"/>
            <a:ext cx="1724024" cy="356382"/>
          </a:xfrm>
          <a:prstGeom prst="rect">
            <a:avLst/>
          </a:prstGeom>
          <a:solidFill>
            <a:schemeClr val="bg2">
              <a:lumMod val="50000"/>
            </a:schemeClr>
          </a:solidFill>
          <a:ln w="12700" cap="flat" cmpd="sng" algn="ctr">
            <a:solidFill>
              <a:schemeClr val="bg1">
                <a:lumMod val="9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ctr" anchorCtr="0" compatLnSpc="1">
            <a:prstTxWarp prst="textNoShape">
              <a:avLst/>
            </a:prstTxWarp>
          </a:bodyPr>
          <a:lstStyle/>
          <a:p>
            <a:pPr algn="ctr" defTabSz="742927" fontAlgn="base">
              <a:spcBef>
                <a:spcPct val="0"/>
              </a:spcBef>
              <a:spcAft>
                <a:spcPct val="0"/>
              </a:spcAft>
            </a:pPr>
            <a:r>
              <a:rPr lang="ru-RU" sz="812" b="1" dirty="0">
                <a:solidFill>
                  <a:prstClr val="white"/>
                </a:solidFill>
                <a:latin typeface="Arial"/>
              </a:rPr>
              <a:t>Опытно промышленные</a:t>
            </a:r>
            <a:endParaRPr lang="en-US" sz="812" b="1" dirty="0">
              <a:solidFill>
                <a:prstClr val="white"/>
              </a:solidFill>
              <a:latin typeface="Arial"/>
            </a:endParaRPr>
          </a:p>
          <a:p>
            <a:pPr algn="ctr" defTabSz="742927" fontAlgn="base">
              <a:spcBef>
                <a:spcPct val="0"/>
              </a:spcBef>
              <a:spcAft>
                <a:spcPct val="0"/>
              </a:spcAft>
            </a:pPr>
            <a:r>
              <a:rPr lang="ru-RU" sz="812" b="1" dirty="0">
                <a:solidFill>
                  <a:prstClr val="white"/>
                </a:solidFill>
                <a:latin typeface="Arial"/>
              </a:rPr>
              <a:t>испытания </a:t>
            </a:r>
          </a:p>
        </p:txBody>
      </p:sp>
      <p:grpSp>
        <p:nvGrpSpPr>
          <p:cNvPr id="33" name="Группа 32"/>
          <p:cNvGrpSpPr/>
          <p:nvPr/>
        </p:nvGrpSpPr>
        <p:grpSpPr>
          <a:xfrm>
            <a:off x="7381736" y="3517972"/>
            <a:ext cx="2219464" cy="476012"/>
            <a:chOff x="3778682" y="2404728"/>
            <a:chExt cx="4060164" cy="585860"/>
          </a:xfrm>
          <a:solidFill>
            <a:schemeClr val="accent5">
              <a:lumMod val="60000"/>
              <a:lumOff val="40000"/>
            </a:schemeClr>
          </a:solidFill>
        </p:grpSpPr>
        <p:sp>
          <p:nvSpPr>
            <p:cNvPr id="34" name="Прямоугольник 33"/>
            <p:cNvSpPr/>
            <p:nvPr/>
          </p:nvSpPr>
          <p:spPr bwMode="auto">
            <a:xfrm>
              <a:off x="3832633" y="2425392"/>
              <a:ext cx="3824049" cy="565196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22225" cap="flat" cmpd="sng" algn="ctr">
              <a:solidFill>
                <a:srgbClr val="008C95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4295" tIns="37148" rIns="74295" bIns="37148" numCol="1" rtlCol="0" anchor="t" anchorCtr="0" compatLnSpc="1">
              <a:prstTxWarp prst="textNoShape">
                <a:avLst/>
              </a:prstTxWarp>
            </a:bodyPr>
            <a:lstStyle/>
            <a:p>
              <a:pPr defTabSz="742927" fontAlgn="base">
                <a:spcBef>
                  <a:spcPct val="0"/>
                </a:spcBef>
                <a:spcAft>
                  <a:spcPct val="0"/>
                </a:spcAft>
              </a:pPr>
              <a:endParaRPr lang="ru-RU" sz="812" b="1">
                <a:solidFill>
                  <a:srgbClr val="003D4C"/>
                </a:solidFill>
                <a:latin typeface="Arial"/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3778682" y="2404728"/>
              <a:ext cx="4060164" cy="575068"/>
            </a:xfrm>
            <a:prstGeom prst="rect">
              <a:avLst/>
            </a:prstGeom>
            <a:noFill/>
            <a:ln w="22225">
              <a:noFill/>
            </a:ln>
          </p:spPr>
          <p:txBody>
            <a:bodyPr wrap="square">
              <a:spAutoFit/>
            </a:bodyPr>
            <a:lstStyle/>
            <a:p>
              <a:pPr marL="139299" indent="-139299" defTabSz="742927">
                <a:buFont typeface="Wingdings" panose="05000000000000000000" pitchFamily="2" charset="2"/>
                <a:buChar char="§"/>
              </a:pPr>
              <a:r>
                <a:rPr lang="ru-RU" sz="812" b="1" dirty="0">
                  <a:solidFill>
                    <a:srgbClr val="003D4C"/>
                  </a:solidFill>
                  <a:latin typeface="Arial"/>
                </a:rPr>
                <a:t>Мониторинг патентной активности  конкурентов</a:t>
              </a:r>
            </a:p>
            <a:p>
              <a:pPr defTabSz="742927"/>
              <a:r>
                <a:rPr lang="ru-RU" sz="812" b="1" dirty="0">
                  <a:solidFill>
                    <a:srgbClr val="003D4C"/>
                  </a:solidFill>
                  <a:latin typeface="Arial"/>
                </a:rPr>
                <a:t>     </a:t>
              </a:r>
              <a:r>
                <a:rPr lang="ru-RU" sz="812" dirty="0">
                  <a:solidFill>
                    <a:srgbClr val="003D4C"/>
                  </a:solidFill>
                  <a:latin typeface="Arial"/>
                </a:rPr>
                <a:t>выявление новых заявок и патентов </a:t>
              </a:r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6272784" y="2318007"/>
            <a:ext cx="3213389" cy="217304"/>
          </a:xfrm>
          <a:prstGeom prst="rect">
            <a:avLst/>
          </a:prstGeom>
          <a:solidFill>
            <a:schemeClr val="bg1">
              <a:lumMod val="95000"/>
            </a:schemeClr>
          </a:solidFill>
          <a:ln w="2857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indent="-139299" defTabSz="742927">
              <a:buFont typeface="Wingdings" panose="05000000000000000000" pitchFamily="2" charset="2"/>
              <a:buChar char="§"/>
            </a:pPr>
            <a:r>
              <a:rPr lang="ru-RU" sz="812" b="1" dirty="0">
                <a:solidFill>
                  <a:srgbClr val="003D4C"/>
                </a:solidFill>
                <a:latin typeface="Arial"/>
              </a:rPr>
              <a:t>Актуализация ПЧ с учетом географии</a:t>
            </a:r>
          </a:p>
        </p:txBody>
      </p:sp>
      <p:sp>
        <p:nvSpPr>
          <p:cNvPr id="51" name="TextBox 50"/>
          <p:cNvSpPr txBox="1"/>
          <p:nvPr/>
        </p:nvSpPr>
        <p:spPr>
          <a:xfrm>
            <a:off x="3962237" y="4043850"/>
            <a:ext cx="2532360" cy="217304"/>
          </a:xfrm>
          <a:prstGeom prst="rect">
            <a:avLst/>
          </a:prstGeom>
          <a:solidFill>
            <a:schemeClr val="bg1">
              <a:lumMod val="95000"/>
            </a:schemeClr>
          </a:solidFill>
          <a:ln w="2222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indent="-139299" defTabSz="603629">
              <a:buFont typeface="Wingdings" panose="05000000000000000000" pitchFamily="2" charset="2"/>
              <a:buChar char="§"/>
            </a:pPr>
            <a:r>
              <a:rPr lang="ru-RU" sz="812" b="1" dirty="0">
                <a:solidFill>
                  <a:srgbClr val="003D4C"/>
                </a:solidFill>
                <a:latin typeface="Arial"/>
              </a:rPr>
              <a:t>Выплаты авторам служебных РИД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966920" y="4305668"/>
            <a:ext cx="5519253" cy="217304"/>
          </a:xfrm>
          <a:prstGeom prst="rect">
            <a:avLst/>
          </a:prstGeom>
          <a:solidFill>
            <a:schemeClr val="bg1">
              <a:lumMod val="95000"/>
            </a:schemeClr>
          </a:solidFill>
          <a:ln w="22225">
            <a:solidFill>
              <a:srgbClr val="008C95"/>
            </a:solidFill>
          </a:ln>
        </p:spPr>
        <p:txBody>
          <a:bodyPr wrap="square" rtlCol="0">
            <a:spAutoFit/>
          </a:bodyPr>
          <a:lstStyle/>
          <a:p>
            <a:pPr marL="139299" indent="-139299" defTabSz="603629">
              <a:buFont typeface="Wingdings" panose="05000000000000000000" pitchFamily="2" charset="2"/>
              <a:buChar char="§"/>
            </a:pPr>
            <a:r>
              <a:rPr lang="ru-RU" sz="812" b="1" dirty="0">
                <a:solidFill>
                  <a:srgbClr val="003D4C"/>
                </a:solidFill>
                <a:latin typeface="Arial"/>
              </a:rPr>
              <a:t>Оплата патентных пошлин</a:t>
            </a:r>
          </a:p>
        </p:txBody>
      </p:sp>
    </p:spTree>
    <p:extLst>
      <p:ext uri="{BB962C8B-B14F-4D97-AF65-F5344CB8AC3E}">
        <p14:creationId xmlns:p14="http://schemas.microsoft.com/office/powerpoint/2010/main" val="30543782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>
          <a:xfrm>
            <a:off x="130629" y="167562"/>
            <a:ext cx="9718765" cy="431378"/>
          </a:xfrm>
        </p:spPr>
        <p:txBody>
          <a:bodyPr/>
          <a:lstStyle/>
          <a:p>
            <a:pPr>
              <a:defRPr/>
            </a:pPr>
            <a:r>
              <a:rPr lang="ru-RU" sz="1800" b="1" dirty="0">
                <a:solidFill>
                  <a:schemeClr val="accent1">
                    <a:lumMod val="75000"/>
                  </a:schemeClr>
                </a:solidFill>
                <a:cs typeface="Times New Roman" pitchFamily="18" charset="0"/>
              </a:rPr>
              <a:t>Высокоэнергетическая рентгеновская дифракция </a:t>
            </a:r>
            <a:r>
              <a:rPr lang="ru-RU" sz="1800" b="1" dirty="0">
                <a:solidFill>
                  <a:schemeClr val="accent1">
                    <a:lumMod val="75000"/>
                  </a:schemeClr>
                </a:solidFill>
              </a:rPr>
              <a:t>(</a:t>
            </a:r>
            <a:r>
              <a:rPr lang="ru-RU" sz="1800" b="1" dirty="0">
                <a:solidFill>
                  <a:schemeClr val="accent1">
                    <a:lumMod val="75000"/>
                  </a:schemeClr>
                </a:solidFill>
                <a:latin typeface="+mn-lt"/>
                <a:cs typeface="Times New Roman" pitchFamily="18" charset="0"/>
              </a:rPr>
              <a:t>прямая защита </a:t>
            </a:r>
            <a:r>
              <a:rPr lang="ru-RU" sz="1800" b="1" dirty="0">
                <a:solidFill>
                  <a:schemeClr val="accent1">
                    <a:lumMod val="75000"/>
                  </a:schemeClr>
                </a:solidFill>
                <a:cs typeface="Times New Roman" pitchFamily="18" charset="0"/>
              </a:rPr>
              <a:t>продукта)</a:t>
            </a:r>
            <a:endParaRPr lang="ru-RU" sz="1800" b="1" dirty="0">
              <a:solidFill>
                <a:schemeClr val="accent1">
                  <a:lumMod val="75000"/>
                </a:schemeClr>
              </a:solidFill>
              <a:latin typeface="+mn-lt"/>
              <a:cs typeface="Times New Roman" pitchFamily="18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7175" y="423862"/>
            <a:ext cx="9391650" cy="6253163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 bwMode="auto">
          <a:xfrm>
            <a:off x="7458075" y="3543300"/>
            <a:ext cx="1800225" cy="219075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3231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 txBox="1">
            <a:spLocks/>
          </p:cNvSpPr>
          <p:nvPr/>
        </p:nvSpPr>
        <p:spPr>
          <a:xfrm>
            <a:off x="139304" y="787014"/>
            <a:ext cx="2515195" cy="322127"/>
          </a:xfrm>
          <a:prstGeom prst="rect">
            <a:avLst/>
          </a:prstGeom>
        </p:spPr>
        <p:txBody>
          <a:bodyPr vert="horz" lIns="74295" tIns="37148" rIns="74295" bIns="37148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95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«Про прутик и веник»</a:t>
            </a:r>
            <a:endParaRPr lang="ru-RU" sz="19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139303" y="1257108"/>
          <a:ext cx="9550003" cy="4715027"/>
        </p:xfrm>
        <a:graphic>
          <a:graphicData uri="http://schemas.openxmlformats.org/drawingml/2006/table">
            <a:tbl>
              <a:tblPr firstRow="1" firstCol="1" bandRow="1"/>
              <a:tblGrid>
                <a:gridCol w="216369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236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5908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035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7689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Times New Roman"/>
                        </a:rPr>
                        <a:t>Международная заяв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Times New Roman"/>
                        </a:rPr>
                        <a:t>от 21.05.2018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7773" marR="377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4">
                  <a:txBody>
                    <a:bodyPr/>
                    <a:lstStyle/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300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300" b="1" dirty="0">
                        <a:solidFill>
                          <a:srgbClr val="008C95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300" dirty="0">
                          <a:effectLst/>
                          <a:latin typeface="+mn-lt"/>
                          <a:ea typeface="Times New Roman"/>
                        </a:rPr>
                        <a:t>       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a typeface="Times New Roman"/>
                        </a:rPr>
                        <a:t>Multi</a:t>
                      </a:r>
                      <a:r>
                        <a:rPr lang="ru-RU" sz="2000" dirty="0">
                          <a:solidFill>
                            <a:schemeClr val="tx1"/>
                          </a:solidFill>
                          <a:ea typeface="Times New Roman"/>
                        </a:rPr>
                        <a:t>-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ea typeface="Times New Roman"/>
                        </a:rPr>
                        <a:t>component copolymer</a:t>
                      </a:r>
                      <a:r>
                        <a:rPr kumimoji="0" lang="ru-RU" sz="2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Times New Roman"/>
                          <a:cs typeface="+mn-cs"/>
                        </a:rPr>
                        <a:t> </a:t>
                      </a:r>
                      <a:endParaRPr lang="ru-RU" sz="20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7773" marR="37773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900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1" baseline="0" dirty="0">
                          <a:solidFill>
                            <a:srgbClr val="008C95"/>
                          </a:solidFill>
                          <a:effectLst/>
                          <a:latin typeface="+mn-lt"/>
                          <a:ea typeface="Times New Roman"/>
                        </a:rPr>
                        <a:t>                                    </a:t>
                      </a:r>
                    </a:p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1" baseline="0" dirty="0">
                          <a:solidFill>
                            <a:srgbClr val="008C95"/>
                          </a:solidFill>
                          <a:effectLst/>
                          <a:latin typeface="+mn-lt"/>
                          <a:ea typeface="Times New Roman"/>
                        </a:rPr>
                        <a:t>                                   </a:t>
                      </a:r>
                    </a:p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i="1" baseline="0" dirty="0">
                          <a:solidFill>
                            <a:srgbClr val="008C95"/>
                          </a:solidFill>
                          <a:effectLst/>
                          <a:latin typeface="+mn-lt"/>
                          <a:ea typeface="Times New Roman"/>
                        </a:rPr>
                        <a:t>  </a:t>
                      </a:r>
                    </a:p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baseline="0" dirty="0">
                        <a:solidFill>
                          <a:srgbClr val="008C95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baseline="0" dirty="0">
                        <a:solidFill>
                          <a:srgbClr val="008C95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i="1" dirty="0">
                        <a:solidFill>
                          <a:srgbClr val="008C95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7773" marR="377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0" i="1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ctr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i="1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7773" marR="377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4637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Times New Roman"/>
                        </a:rPr>
                        <a:t>Международная заяв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Times New Roman"/>
                        </a:rPr>
                        <a:t>от 21.05.2018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ru-RU" sz="1100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7773" marR="377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endParaRPr lang="ru-RU" sz="900" b="1" i="1" dirty="0">
                        <a:solidFill>
                          <a:srgbClr val="008C95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en-US" sz="900" b="1" i="1" dirty="0">
                        <a:solidFill>
                          <a:srgbClr val="008C95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en-US" sz="900" b="1" i="1" dirty="0">
                        <a:solidFill>
                          <a:srgbClr val="008C95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en-US" sz="900" b="1" i="1" dirty="0">
                        <a:solidFill>
                          <a:srgbClr val="008C95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en-US" sz="900" b="1" i="1" dirty="0">
                        <a:solidFill>
                          <a:srgbClr val="008C95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en-US" sz="900" b="1" i="1" dirty="0">
                        <a:solidFill>
                          <a:srgbClr val="008C95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900" b="1" i="1" dirty="0">
                          <a:solidFill>
                            <a:srgbClr val="008C95"/>
                          </a:solidFill>
                          <a:effectLst/>
                          <a:latin typeface="+mn-lt"/>
                          <a:ea typeface="Times New Roman"/>
                        </a:rPr>
                        <a:t>           </a:t>
                      </a:r>
                      <a:endParaRPr lang="ru-RU" sz="900" b="1" i="1" dirty="0">
                        <a:solidFill>
                          <a:srgbClr val="008C95"/>
                        </a:solidFill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7773" marR="377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kern="1200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kern="1200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kern="1200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kern="1200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kern="1200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  <a:cs typeface="+mn-cs"/>
                      </a:endParaRPr>
                    </a:p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i="1" kern="1200" dirty="0">
                          <a:solidFill>
                            <a:srgbClr val="F7713B"/>
                          </a:solidFill>
                          <a:effectLst/>
                          <a:latin typeface="+mn-lt"/>
                          <a:ea typeface="Times New Roman"/>
                          <a:cs typeface="+mn-cs"/>
                        </a:rPr>
                        <a:t>               </a:t>
                      </a:r>
                    </a:p>
                  </a:txBody>
                  <a:tcPr marL="37773" marR="377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2057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Times New Roman"/>
                        </a:rPr>
                        <a:t>Международная заяв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Times New Roman"/>
                        </a:rPr>
                        <a:t>от 21.05.2018</a:t>
                      </a:r>
                    </a:p>
                  </a:txBody>
                  <a:tcPr marL="37773" marR="377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900" b="1" i="1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900" b="1" i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7773" marR="377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i="1" dirty="0">
                        <a:solidFill>
                          <a:srgbClr val="F7713B"/>
                        </a:solidFill>
                        <a:effectLst/>
                        <a:latin typeface="+mn-lt"/>
                        <a:ea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900" b="1" i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7773" marR="377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47117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endParaRPr lang="en-US" sz="1100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Times New Roman"/>
                        </a:rPr>
                        <a:t>Международная заяв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Times New Roman"/>
                        </a:rPr>
                        <a:t>от 21.05.2018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+mn-lt"/>
                          <a:ea typeface="Times New Roman"/>
                        </a:rPr>
                        <a:t> </a:t>
                      </a:r>
                    </a:p>
                  </a:txBody>
                  <a:tcPr marL="37773" marR="377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i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7773" marR="377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i="1" dirty="0">
                        <a:effectLst/>
                        <a:latin typeface="+mn-lt"/>
                        <a:ea typeface="Times New Roman"/>
                      </a:endParaRPr>
                    </a:p>
                    <a:p>
                      <a:pPr marL="0" marR="0" indent="0" algn="just" defTabSz="914239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900" b="1" i="1" dirty="0">
                        <a:effectLst/>
                        <a:latin typeface="+mn-lt"/>
                        <a:ea typeface="Times New Roman"/>
                      </a:endParaRPr>
                    </a:p>
                  </a:txBody>
                  <a:tcPr marL="37773" marR="37773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FEF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6" name="Заголовок 1"/>
          <p:cNvSpPr txBox="1">
            <a:spLocks/>
          </p:cNvSpPr>
          <p:nvPr/>
        </p:nvSpPr>
        <p:spPr bwMode="auto">
          <a:xfrm>
            <a:off x="6385656" y="3384036"/>
            <a:ext cx="905547" cy="3000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45711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91423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37135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828477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r>
              <a:rPr lang="en-US" sz="1138" i="1" dirty="0">
                <a:solidFill>
                  <a:schemeClr val="tx1"/>
                </a:solidFill>
                <a:latin typeface="+mn-lt"/>
                <a:ea typeface="Times New Roman"/>
              </a:rPr>
              <a:t> </a:t>
            </a:r>
            <a:r>
              <a:rPr lang="ru-RU" sz="1138" i="1" dirty="0">
                <a:solidFill>
                  <a:schemeClr val="tx1"/>
                </a:solidFill>
                <a:latin typeface="+mn-lt"/>
                <a:ea typeface="Times New Roman"/>
              </a:rPr>
              <a:t>5 </a:t>
            </a:r>
            <a:r>
              <a:rPr lang="en-US" sz="1138" i="1" dirty="0">
                <a:solidFill>
                  <a:schemeClr val="tx1"/>
                </a:solidFill>
                <a:latin typeface="+mn-lt"/>
                <a:ea typeface="Times New Roman"/>
              </a:rPr>
              <a:t>-</a:t>
            </a:r>
            <a:r>
              <a:rPr lang="ru-RU" sz="1138" i="1" dirty="0">
                <a:solidFill>
                  <a:schemeClr val="tx1"/>
                </a:solidFill>
                <a:latin typeface="+mn-lt"/>
                <a:ea typeface="Times New Roman"/>
              </a:rPr>
              <a:t> 50 мол.% </a:t>
            </a:r>
            <a:endParaRPr lang="ru-RU" sz="1138" kern="0" dirty="0">
              <a:solidFill>
                <a:schemeClr val="tx1"/>
              </a:solidFill>
              <a:latin typeface="+mn-lt"/>
              <a:ea typeface="Times New Roman"/>
            </a:endParaRPr>
          </a:p>
        </p:txBody>
      </p:sp>
      <p:pic>
        <p:nvPicPr>
          <p:cNvPr id="7" name="Picture 1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4119" y="2731530"/>
            <a:ext cx="3312319" cy="11709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54697" y="1419957"/>
            <a:ext cx="1665298" cy="561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0183" y="1345260"/>
            <a:ext cx="756494" cy="8307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2379" y="2521701"/>
            <a:ext cx="759088" cy="8336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9807" y="2622115"/>
            <a:ext cx="1590188" cy="5360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2693" y="3712752"/>
            <a:ext cx="938152" cy="7505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Picture 1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55101" y="3757420"/>
            <a:ext cx="861110" cy="4975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Picture 1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4389" y="5173859"/>
            <a:ext cx="976608" cy="781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1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92669" y="4644358"/>
            <a:ext cx="857368" cy="4953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8066" y="4697248"/>
            <a:ext cx="741982" cy="7295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7994523" y="3317018"/>
            <a:ext cx="1503938" cy="2674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just" defTabSz="742819">
              <a:defRPr/>
            </a:pPr>
            <a:r>
              <a:rPr lang="ru-RU" sz="1138" i="1" dirty="0">
                <a:ea typeface="Times New Roman"/>
              </a:rPr>
              <a:t>0 мол.% </a:t>
            </a:r>
            <a:r>
              <a:rPr lang="en-US" sz="1138" i="1" dirty="0">
                <a:ea typeface="Times New Roman"/>
              </a:rPr>
              <a:t>- </a:t>
            </a:r>
            <a:r>
              <a:rPr lang="ru-RU" sz="1138" i="1" dirty="0">
                <a:ea typeface="Times New Roman"/>
              </a:rPr>
              <a:t>50 мол.%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892114" y="3804546"/>
            <a:ext cx="1915968" cy="7927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742819">
              <a:defRPr/>
            </a:pPr>
            <a:r>
              <a:rPr lang="ru-RU" sz="1138" i="1" dirty="0">
                <a:ea typeface="Times New Roman"/>
              </a:rPr>
              <a:t>ММ вершины пика блока </a:t>
            </a:r>
          </a:p>
          <a:p>
            <a:pPr algn="just" defTabSz="742819">
              <a:defRPr/>
            </a:pPr>
            <a:r>
              <a:rPr lang="ru-RU" sz="1138" i="1" dirty="0">
                <a:ea typeface="Times New Roman"/>
              </a:rPr>
              <a:t>несопряженного олефина </a:t>
            </a:r>
          </a:p>
          <a:p>
            <a:pPr algn="just" defTabSz="742819">
              <a:defRPr/>
            </a:pPr>
            <a:r>
              <a:rPr lang="ru-RU" sz="1138" i="1" dirty="0">
                <a:ea typeface="Times New Roman"/>
              </a:rPr>
              <a:t>от 500 до 40 000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7932530" y="4726838"/>
            <a:ext cx="1741699" cy="11430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defTabSz="742819">
              <a:defRPr/>
            </a:pPr>
            <a:r>
              <a:rPr lang="en-US" sz="1138" i="1" dirty="0">
                <a:ea typeface="Times New Roman"/>
              </a:rPr>
              <a:t>Max </a:t>
            </a:r>
            <a:r>
              <a:rPr lang="ru-RU" sz="1138" i="1" dirty="0">
                <a:ea typeface="Times New Roman"/>
              </a:rPr>
              <a:t>ММ пика цепи, блока несопряженного олефина и/или блока </a:t>
            </a:r>
            <a:r>
              <a:rPr lang="ru-RU" sz="1138" i="1" dirty="0" err="1">
                <a:ea typeface="Times New Roman"/>
              </a:rPr>
              <a:t>винилароматического</a:t>
            </a:r>
            <a:r>
              <a:rPr lang="ru-RU" sz="1138" i="1" dirty="0">
                <a:ea typeface="Times New Roman"/>
              </a:rPr>
              <a:t> соединения - менее 2000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8190089" y="2181830"/>
            <a:ext cx="1112805" cy="2674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42819">
              <a:defRPr/>
            </a:pPr>
            <a:r>
              <a:rPr lang="ru-RU" sz="1138" i="1" dirty="0">
                <a:ea typeface="Times New Roman"/>
              </a:rPr>
              <a:t>44 </a:t>
            </a:r>
            <a:r>
              <a:rPr lang="en-US" sz="1138" i="1" dirty="0">
                <a:ea typeface="Times New Roman"/>
              </a:rPr>
              <a:t>- </a:t>
            </a:r>
            <a:r>
              <a:rPr lang="ru-RU" sz="1138" i="1" dirty="0">
                <a:ea typeface="Times New Roman"/>
              </a:rPr>
              <a:t>97 мол.%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6093260" y="2173668"/>
            <a:ext cx="1513556" cy="26744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742819">
              <a:defRPr/>
            </a:pPr>
            <a:r>
              <a:rPr lang="ru-RU" sz="1138" i="1" dirty="0">
                <a:ea typeface="Times New Roman"/>
              </a:rPr>
              <a:t>3 мол.%  или более</a:t>
            </a:r>
            <a:endParaRPr lang="en-US" sz="1138" i="1" dirty="0">
              <a:ea typeface="Times New Roman"/>
            </a:endParaRPr>
          </a:p>
        </p:txBody>
      </p:sp>
      <p:sp>
        <p:nvSpPr>
          <p:cNvPr id="22" name="Заголовок 1"/>
          <p:cNvSpPr txBox="1">
            <a:spLocks/>
          </p:cNvSpPr>
          <p:nvPr/>
        </p:nvSpPr>
        <p:spPr>
          <a:xfrm>
            <a:off x="6873447" y="787014"/>
            <a:ext cx="3239963" cy="322127"/>
          </a:xfrm>
          <a:prstGeom prst="rect">
            <a:avLst/>
          </a:prstGeom>
        </p:spPr>
        <p:txBody>
          <a:bodyPr vert="horz" lIns="74295" tIns="37148" rIns="74295" bIns="37148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1950" dirty="0">
                <a:latin typeface="Times New Roman" panose="02020603050405020304" pitchFamily="18" charset="0"/>
                <a:ea typeface="Times New Roman"/>
                <a:cs typeface="Times New Roman" panose="02020603050405020304" pitchFamily="18" charset="0"/>
              </a:rPr>
              <a:t>Приемы патентования</a:t>
            </a:r>
            <a:endParaRPr lang="ru-RU" sz="195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98914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8937" y="198669"/>
            <a:ext cx="9729216" cy="896836"/>
          </a:xfrm>
        </p:spPr>
        <p:txBody>
          <a:bodyPr/>
          <a:lstStyle/>
          <a:p>
            <a:r>
              <a:rPr lang="ru-RU" sz="1700" dirty="0"/>
              <a:t>Примеры формул изобретений патентов, которые могут быть </a:t>
            </a:r>
            <a:br>
              <a:rPr lang="ru-RU" sz="1700" dirty="0"/>
            </a:br>
            <a:r>
              <a:rPr lang="ru-RU" sz="1700" dirty="0"/>
              <a:t>препятствием для Клиента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00640242"/>
              </p:ext>
            </p:extLst>
          </p:nvPr>
        </p:nvGraphicFramePr>
        <p:xfrm>
          <a:off x="388937" y="912263"/>
          <a:ext cx="9128125" cy="5380927"/>
        </p:xfrm>
        <a:graphic>
          <a:graphicData uri="http://schemas.openxmlformats.org/drawingml/2006/table">
            <a:tbl>
              <a:tblPr firstRow="1" firstCol="1" bandRow="1"/>
              <a:tblGrid>
                <a:gridCol w="4942015">
                  <a:extLst>
                    <a:ext uri="{9D8B030D-6E8A-4147-A177-3AD203B41FA5}">
                      <a16:colId xmlns:a16="http://schemas.microsoft.com/office/drawing/2014/main" val="123800301"/>
                    </a:ext>
                  </a:extLst>
                </a:gridCol>
                <a:gridCol w="4186110">
                  <a:extLst>
                    <a:ext uri="{9D8B030D-6E8A-4147-A177-3AD203B41FA5}">
                      <a16:colId xmlns:a16="http://schemas.microsoft.com/office/drawing/2014/main" val="192248538"/>
                    </a:ext>
                  </a:extLst>
                </a:gridCol>
              </a:tblGrid>
              <a:tr h="1716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 1.  Не можем повлиять на риск Клиента</a:t>
                      </a:r>
                    </a:p>
                  </a:txBody>
                  <a:tcPr marL="65631" marR="6563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имер 2. Должны работать с риском Клиента</a:t>
                      </a:r>
                    </a:p>
                  </a:txBody>
                  <a:tcPr marL="65631" marR="6563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72966755"/>
                  </a:ext>
                </a:extLst>
              </a:tr>
              <a:tr h="2586880"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ru-RU" sz="1400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luxury vinyl tile formulation comprising: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lyvinyl chloride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omopolymers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or copolymers;</a:t>
                      </a:r>
                      <a:endParaRPr lang="ru-RU" sz="1400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lasticizer</a:t>
                      </a:r>
                      <a:r>
                        <a:rPr lang="en-US" sz="1400" b="1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;</a:t>
                      </a:r>
                      <a:endParaRPr lang="ru-RU" sz="1400" b="1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modifier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omprise: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</a:t>
                      </a:r>
                      <a:r>
                        <a:rPr lang="en-US" sz="1400" dirty="0" err="1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benzoate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omprising </a:t>
                      </a:r>
                      <a:r>
                        <a:rPr lang="en-US" sz="1400" dirty="0" err="1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ethy!ene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glycol </a:t>
                      </a:r>
                      <a:r>
                        <a:rPr lang="en-US" sz="1400" dirty="0" err="1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benzoate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</a:t>
                      </a:r>
                      <a:r>
                        <a:rPr lang="en-US" sz="1400" dirty="0" err="1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propylene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glycol </a:t>
                      </a:r>
                      <a:r>
                        <a:rPr lang="en-US" sz="1400" dirty="0" err="1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benzoate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1 ,2-propylene glycol </a:t>
                      </a:r>
                      <a:r>
                        <a:rPr lang="en-US" sz="1400" dirty="0" err="1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benzoate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, or mixtures thereof,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 alkyl sulfonic phenyl ester,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butyl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terephthalate, or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benzyl butyl 1 ,2-cyclohexyldicarboxylate.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tionally, a filler,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herein </a:t>
                      </a:r>
                      <a:r>
                        <a:rPr lang="en-US" sz="1400" b="1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e modifier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reduces the amount of general-purpose plasticizer needed in the luxury vinyl tile formulation.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631" marR="6563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endParaRPr lang="ru-RU" sz="1400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rabicPeriod"/>
                      </a:pP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luxury vinyl tile formulation comprising: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lyvinyl chloride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homopolymers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or copolymers;</a:t>
                      </a:r>
                      <a:endParaRPr lang="ru-RU" sz="1400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plasticizer</a:t>
                      </a:r>
                      <a:r>
                        <a:rPr lang="en-US" sz="1400" b="1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;</a:t>
                      </a:r>
                      <a:endParaRPr lang="ru-RU" sz="1400" b="1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 modifier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;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400" b="1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b="1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ptionally, a filler,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400" dirty="0">
                        <a:solidFill>
                          <a:srgbClr val="222222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wherein </a:t>
                      </a:r>
                      <a:r>
                        <a:rPr lang="en-US" sz="1400" b="1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e plasticizer</a:t>
                      </a:r>
                      <a:r>
                        <a:rPr lang="en-US" sz="1400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comprising </a:t>
                      </a: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-butyl isobutyl terephthalate, di-n-butyl terephthalate and </a:t>
                      </a:r>
                      <a:r>
                        <a:rPr lang="en-US" sz="1400" dirty="0" err="1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iisobutyl</a:t>
                      </a:r>
                      <a:r>
                        <a:rPr lang="en-US" sz="14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terephthalate</a:t>
                      </a: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16700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222222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d </a:t>
                      </a:r>
                      <a:r>
                        <a:rPr lang="en-US" sz="1400" b="1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e plasticizer</a:t>
                      </a:r>
                      <a:r>
                        <a:rPr lang="en-US" sz="1400" dirty="0">
                          <a:solidFill>
                            <a:srgbClr val="C00000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has high boiling temperature more than 300 C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5631" marR="65631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341114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817228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294486" y="911392"/>
            <a:ext cx="5167060" cy="314086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03217" y="1266270"/>
            <a:ext cx="2776100" cy="2431103"/>
          </a:xfrm>
          <a:prstGeom prst="rect">
            <a:avLst/>
          </a:prstGeom>
        </p:spPr>
      </p:pic>
      <p:pic>
        <p:nvPicPr>
          <p:cNvPr id="6" name="Picture 3"/>
          <p:cNvPicPr/>
          <p:nvPr/>
        </p:nvPicPr>
        <p:blipFill>
          <a:blip r:embed="rId4"/>
          <a:srcRect/>
          <a:stretch>
            <a:fillRect/>
          </a:stretch>
        </p:blipFill>
        <p:spPr>
          <a:xfrm>
            <a:off x="6414135" y="4753927"/>
            <a:ext cx="2742309" cy="1271271"/>
          </a:xfrm>
          <a:prstGeom prst="rect">
            <a:avLst/>
          </a:prstGeom>
          <a:noFill/>
          <a:ln>
            <a:noFill/>
            <a:prstDash/>
          </a:ln>
        </p:spPr>
      </p:pic>
      <p:sp>
        <p:nvSpPr>
          <p:cNvPr id="8" name="Прямоугольник 7"/>
          <p:cNvSpPr/>
          <p:nvPr/>
        </p:nvSpPr>
        <p:spPr>
          <a:xfrm>
            <a:off x="294486" y="4854418"/>
            <a:ext cx="4971634" cy="108491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488"/>
              </a:spcBef>
            </a:pPr>
            <a:r>
              <a:rPr lang="ru-RU" sz="13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А017241</a:t>
            </a:r>
            <a:r>
              <a:rPr lang="ru-RU" sz="13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3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3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ескорпусная</a:t>
            </a:r>
            <a:r>
              <a:rPr lang="ru-RU" sz="13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групповая упаковка», выдан 30.10.2012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</a:p>
          <a:p>
            <a:pPr>
              <a:spcBef>
                <a:spcPts val="488"/>
              </a:spcBef>
            </a:pPr>
            <a:r>
              <a:rPr lang="ru-RU" sz="13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А02398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3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</a:t>
            </a:r>
            <a:r>
              <a:rPr lang="ru-RU" sz="1300" i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Бескорпусная</a:t>
            </a:r>
            <a:r>
              <a:rPr lang="ru-RU" sz="13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групповая упаковка», выдан 30.12.2016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; </a:t>
            </a:r>
          </a:p>
          <a:p>
            <a:pPr>
              <a:spcBef>
                <a:spcPts val="488"/>
              </a:spcBef>
            </a:pPr>
            <a:r>
              <a:rPr lang="ru-RU" sz="13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А029138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3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Упаковка», выдан 28.02.2018 ; </a:t>
            </a:r>
            <a:endParaRPr lang="ru-RU" sz="13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spcBef>
                <a:spcPts val="488"/>
              </a:spcBef>
            </a:pPr>
            <a:r>
              <a:rPr lang="ru-RU" sz="13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ЕА029841</a:t>
            </a:r>
            <a:r>
              <a:rPr lang="ru-RU" sz="1300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3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«Способ формирования емкости», выдан 31.05.2018 </a:t>
            </a:r>
            <a:r>
              <a:rPr lang="ru-RU" sz="1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7380751" y="4343855"/>
            <a:ext cx="845103" cy="3174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63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лиент </a:t>
            </a:r>
            <a:endParaRPr lang="ru-RU" sz="1463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3419073" y="4554337"/>
            <a:ext cx="1652312" cy="31745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463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NNOVIA FILMS</a:t>
            </a:r>
            <a:endParaRPr lang="ru-RU" sz="1463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09730" y="3716119"/>
            <a:ext cx="1093428" cy="7777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964840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767818" y="553045"/>
            <a:ext cx="5377543" cy="304919"/>
          </a:xfrm>
        </p:spPr>
        <p:txBody>
          <a:bodyPr>
            <a:normAutofit/>
          </a:bodyPr>
          <a:lstStyle/>
          <a:p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знаки, в формулах изобретений оспариваемых патентов</a:t>
            </a:r>
          </a:p>
        </p:txBody>
      </p:sp>
      <p:pic>
        <p:nvPicPr>
          <p:cNvPr id="7" name="Рисунок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67818" y="928463"/>
            <a:ext cx="5957973" cy="5242376"/>
          </a:xfrm>
          <a:prstGeom prst="rect">
            <a:avLst/>
          </a:prstGeom>
        </p:spPr>
      </p:pic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162519" y="857964"/>
          <a:ext cx="3422878" cy="59836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69485">
                  <a:extLst>
                    <a:ext uri="{9D8B030D-6E8A-4147-A177-3AD203B41FA5}">
                      <a16:colId xmlns:a16="http://schemas.microsoft.com/office/drawing/2014/main" val="3490307957"/>
                    </a:ext>
                  </a:extLst>
                </a:gridCol>
                <a:gridCol w="831396">
                  <a:extLst>
                    <a:ext uri="{9D8B030D-6E8A-4147-A177-3AD203B41FA5}">
                      <a16:colId xmlns:a16="http://schemas.microsoft.com/office/drawing/2014/main" val="3110649382"/>
                    </a:ext>
                  </a:extLst>
                </a:gridCol>
                <a:gridCol w="902154">
                  <a:extLst>
                    <a:ext uri="{9D8B030D-6E8A-4147-A177-3AD203B41FA5}">
                      <a16:colId xmlns:a16="http://schemas.microsoft.com/office/drawing/2014/main" val="703377487"/>
                    </a:ext>
                  </a:extLst>
                </a:gridCol>
                <a:gridCol w="919843">
                  <a:extLst>
                    <a:ext uri="{9D8B030D-6E8A-4147-A177-3AD203B41FA5}">
                      <a16:colId xmlns:a16="http://schemas.microsoft.com/office/drawing/2014/main" val="840684120"/>
                    </a:ext>
                  </a:extLst>
                </a:gridCol>
              </a:tblGrid>
              <a:tr h="81724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A017241</a:t>
                      </a: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Росси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еларусь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азахстан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A0</a:t>
                      </a: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5398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Росси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еларусь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азахстан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A0</a:t>
                      </a: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841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Росси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азахстан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EA0</a:t>
                      </a: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9138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Россия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еларусь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азахстан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1405096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встри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20164371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Австрали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7575266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разили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Бразили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588103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анад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0444771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итай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итай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итай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813421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вроп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вроп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Европ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9499052"/>
                  </a:ext>
                </a:extLst>
              </a:tr>
              <a:tr h="23050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Испани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Испани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Испани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36771620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Инди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5165682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Япони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Япони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Япони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8146060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оре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оре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оре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65658128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ексик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ексик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ексик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15672951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алайзия</a:t>
                      </a: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алайзия</a:t>
                      </a: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Малайзия</a:t>
                      </a: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59758434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Филиппины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Филиппины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5361125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льш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льш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льш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7735920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Португалия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6732389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краин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6323564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Ш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006072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Ю. Африк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Ю. Африк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Ю. Африка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1891331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оролевство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Королевство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08853207"/>
                  </a:ext>
                </a:extLst>
              </a:tr>
              <a:tr h="22288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4295" marR="74295" marT="37148" marB="37148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ингапур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ингапур</a:t>
                      </a:r>
                    </a:p>
                  </a:txBody>
                  <a:tcPr marL="74295" marR="74295" marT="37148" marB="37148">
                    <a:solidFill>
                      <a:srgbClr val="518F9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927597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05543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TextBox 139"/>
          <p:cNvSpPr txBox="1"/>
          <p:nvPr/>
        </p:nvSpPr>
        <p:spPr>
          <a:xfrm>
            <a:off x="6668299" y="2265015"/>
            <a:ext cx="1931195" cy="29238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300" b="1" dirty="0">
                <a:solidFill>
                  <a:schemeClr val="accent1">
                    <a:lumMod val="75000"/>
                  </a:schemeClr>
                </a:solidFill>
              </a:rPr>
              <a:t>Признаки упаковки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976794" y="2679131"/>
            <a:ext cx="736480" cy="40915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76" name="Прямоугольник 75"/>
          <p:cNvSpPr/>
          <p:nvPr/>
        </p:nvSpPr>
        <p:spPr>
          <a:xfrm>
            <a:off x="976794" y="3836770"/>
            <a:ext cx="736480" cy="40915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82" name="Прямоугольник 81"/>
          <p:cNvSpPr/>
          <p:nvPr/>
        </p:nvSpPr>
        <p:spPr>
          <a:xfrm>
            <a:off x="976794" y="4994409"/>
            <a:ext cx="736480" cy="40915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243006" y="895947"/>
            <a:ext cx="7132664" cy="250068"/>
          </a:xfrm>
          <a:noFill/>
        </p:spPr>
        <p:txBody>
          <a:bodyPr wrap="square" rtlCol="0">
            <a:spAutoFit/>
          </a:bodyPr>
          <a:lstStyle/>
          <a:p>
            <a:pPr defTabSz="742612"/>
            <a:r>
              <a:rPr lang="ru-RU" sz="1625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  <a:t>Патенты на упаковку: 85% признаков пленки и </a:t>
            </a:r>
            <a:r>
              <a:rPr lang="en-US" sz="1625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  <a:t>15% </a:t>
            </a:r>
            <a:r>
              <a:rPr lang="ru-RU" sz="1625" dirty="0">
                <a:solidFill>
                  <a:prstClr val="black"/>
                </a:solidFill>
                <a:latin typeface="Arial"/>
                <a:ea typeface="+mn-ea"/>
                <a:cs typeface="+mn-cs"/>
              </a:rPr>
              <a:t>признаков  упаковки</a:t>
            </a:r>
          </a:p>
        </p:txBody>
      </p:sp>
      <p:sp>
        <p:nvSpPr>
          <p:cNvPr id="59" name="Прямоугольник 58"/>
          <p:cNvSpPr/>
          <p:nvPr/>
        </p:nvSpPr>
        <p:spPr>
          <a:xfrm>
            <a:off x="999577" y="2826174"/>
            <a:ext cx="736480" cy="40915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0" name="Прямоугольник 59"/>
          <p:cNvSpPr/>
          <p:nvPr/>
        </p:nvSpPr>
        <p:spPr>
          <a:xfrm>
            <a:off x="999577" y="3983812"/>
            <a:ext cx="736480" cy="40915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62" name="Прямоугольник 61"/>
          <p:cNvSpPr/>
          <p:nvPr/>
        </p:nvSpPr>
        <p:spPr>
          <a:xfrm>
            <a:off x="999577" y="5141451"/>
            <a:ext cx="736480" cy="409156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63" name="Группа 62"/>
          <p:cNvGrpSpPr/>
          <p:nvPr/>
        </p:nvGrpSpPr>
        <p:grpSpPr>
          <a:xfrm>
            <a:off x="1173324" y="2461015"/>
            <a:ext cx="7789388" cy="3137616"/>
            <a:chOff x="326342" y="1137397"/>
            <a:chExt cx="9586939" cy="3861681"/>
          </a:xfrm>
        </p:grpSpPr>
        <p:grpSp>
          <p:nvGrpSpPr>
            <p:cNvPr id="64" name="Группа 63"/>
            <p:cNvGrpSpPr/>
            <p:nvPr/>
          </p:nvGrpSpPr>
          <p:grpSpPr>
            <a:xfrm>
              <a:off x="326342" y="1137397"/>
              <a:ext cx="9586939" cy="3861681"/>
              <a:chOff x="996886" y="730259"/>
              <a:chExt cx="8492806" cy="3408781"/>
            </a:xfrm>
          </p:grpSpPr>
          <p:sp>
            <p:nvSpPr>
              <p:cNvPr id="67" name="Полилиния 66"/>
              <p:cNvSpPr/>
              <p:nvPr/>
            </p:nvSpPr>
            <p:spPr>
              <a:xfrm>
                <a:off x="1729950" y="870656"/>
                <a:ext cx="646512" cy="734298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bg1"/>
                </a:fgClr>
                <a:bgClr>
                  <a:schemeClr val="accent3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32695" tIns="146510" rIns="132695" bIns="146510" numCol="1" spcCol="1270" anchor="ctr" anchorCtr="0">
                <a:noAutofit/>
              </a:bodyPr>
              <a:lstStyle/>
              <a:p>
                <a:pPr algn="ctr" defTabSz="46948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Для </a:t>
                </a:r>
                <a:r>
                  <a:rPr lang="ru-RU" sz="488" b="1" dirty="0" err="1"/>
                  <a:t>бескорпусной</a:t>
                </a:r>
                <a:r>
                  <a:rPr lang="ru-RU" sz="488" b="1" dirty="0"/>
                  <a:t> упаковки</a:t>
                </a:r>
              </a:p>
            </p:txBody>
          </p:sp>
          <p:sp>
            <p:nvSpPr>
              <p:cNvPr id="74" name="Полилиния 73"/>
              <p:cNvSpPr/>
              <p:nvPr/>
            </p:nvSpPr>
            <p:spPr>
              <a:xfrm>
                <a:off x="1379494" y="1493929"/>
                <a:ext cx="644689" cy="726999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bg1"/>
                </a:fgClr>
                <a:bgClr>
                  <a:schemeClr val="accent3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32695" tIns="146510" rIns="132695" bIns="146510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Слой В сваривается с А и В </a:t>
                </a:r>
              </a:p>
            </p:txBody>
          </p:sp>
          <p:sp>
            <p:nvSpPr>
              <p:cNvPr id="79" name="Полилиния 78"/>
              <p:cNvSpPr/>
              <p:nvPr/>
            </p:nvSpPr>
            <p:spPr>
              <a:xfrm>
                <a:off x="2065762" y="1493928"/>
                <a:ext cx="675626" cy="729396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bg1"/>
                </a:fgClr>
                <a:bgClr>
                  <a:schemeClr val="accent3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Слой пачки с длиной цепи х, слой В – с</a:t>
                </a:r>
                <a:r>
                  <a:rPr lang="en-US" sz="488" b="1" dirty="0"/>
                  <a:t> </a:t>
                </a:r>
                <a:r>
                  <a:rPr lang="ru-RU" sz="488" b="1" dirty="0"/>
                  <a:t>длиной цепи у,  х не равно у</a:t>
                </a:r>
              </a:p>
            </p:txBody>
          </p:sp>
          <p:sp>
            <p:nvSpPr>
              <p:cNvPr id="84" name="Полилиния 83"/>
              <p:cNvSpPr/>
              <p:nvPr/>
            </p:nvSpPr>
            <p:spPr>
              <a:xfrm>
                <a:off x="1729950" y="2099975"/>
                <a:ext cx="650360" cy="787357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32695" tIns="146510" rIns="132695" bIns="146510" numCol="1" spcCol="1270" anchor="ctr" anchorCtr="0">
                <a:noAutofit/>
              </a:bodyPr>
              <a:lstStyle/>
              <a:p>
                <a:pPr algn="ctr" defTabSz="46948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Слой А имеет низкий порог термосваривания.</a:t>
                </a:r>
                <a:r>
                  <a:rPr lang="en-US" sz="488" b="1" dirty="0"/>
                  <a:t>,</a:t>
                </a:r>
                <a:r>
                  <a:rPr lang="ru-RU" sz="488" b="1" dirty="0"/>
                  <a:t> </a:t>
                </a:r>
              </a:p>
            </p:txBody>
          </p:sp>
          <p:sp>
            <p:nvSpPr>
              <p:cNvPr id="85" name="Полилиния 84"/>
              <p:cNvSpPr/>
              <p:nvPr/>
            </p:nvSpPr>
            <p:spPr>
              <a:xfrm>
                <a:off x="1415642" y="2763566"/>
                <a:ext cx="622340" cy="731024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32695" tIns="146510" rIns="132695" bIns="146510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Толщина слоев А и В – 0,05 - 2 мкм  </a:t>
                </a:r>
              </a:p>
            </p:txBody>
          </p:sp>
          <p:sp>
            <p:nvSpPr>
              <p:cNvPr id="87" name="Полилиния 86"/>
              <p:cNvSpPr/>
              <p:nvPr/>
            </p:nvSpPr>
            <p:spPr>
              <a:xfrm>
                <a:off x="2088347" y="2752656"/>
                <a:ext cx="670337" cy="730585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bg1"/>
                </a:fgClr>
                <a:bgClr>
                  <a:schemeClr val="accent3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Пленка </a:t>
                </a:r>
                <a:r>
                  <a:rPr lang="ru-RU" sz="488" b="1" dirty="0" err="1"/>
                  <a:t>термоусадочная</a:t>
                </a:r>
                <a:endParaRPr lang="ru-RU" sz="488" b="1" dirty="0"/>
              </a:p>
            </p:txBody>
          </p:sp>
          <p:sp>
            <p:nvSpPr>
              <p:cNvPr id="90" name="Полилиния 89"/>
              <p:cNvSpPr/>
              <p:nvPr/>
            </p:nvSpPr>
            <p:spPr>
              <a:xfrm>
                <a:off x="1775570" y="3376119"/>
                <a:ext cx="630348" cy="721926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solidFill>
                <a:schemeClr val="tx1">
                  <a:lumMod val="50000"/>
                  <a:lumOff val="50000"/>
                </a:schemeClr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32695" tIns="146510" rIns="132695" bIns="146510" numCol="1" spcCol="1270" anchor="ctr" anchorCtr="0">
                <a:noAutofit/>
              </a:bodyPr>
              <a:lstStyle/>
              <a:p>
                <a:pPr fontAlgn="t"/>
                <a:endParaRPr lang="ru-RU" sz="488" b="1" dirty="0">
                  <a:solidFill>
                    <a:schemeClr val="bg1"/>
                  </a:solidFill>
                </a:endParaRPr>
              </a:p>
              <a:p>
                <a:pPr fontAlgn="t"/>
                <a:r>
                  <a:rPr lang="ru-RU" sz="488" b="1" dirty="0">
                    <a:solidFill>
                      <a:schemeClr val="bg1"/>
                    </a:solidFill>
                  </a:rPr>
                  <a:t>Прочность сваривания А с А/В  -400 г/мм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616" b="1" dirty="0"/>
              </a:p>
            </p:txBody>
          </p:sp>
          <p:sp>
            <p:nvSpPr>
              <p:cNvPr id="93" name="Полилиния 92"/>
              <p:cNvSpPr/>
              <p:nvPr/>
            </p:nvSpPr>
            <p:spPr>
              <a:xfrm>
                <a:off x="996886" y="2099975"/>
                <a:ext cx="694760" cy="800750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fontAlgn="t"/>
                <a:r>
                  <a:rPr lang="ru-RU" sz="488" b="1" dirty="0">
                    <a:solidFill>
                      <a:schemeClr val="bg1"/>
                    </a:solidFill>
                  </a:rPr>
                  <a:t>Прочность сваривания А с А/В  -100 г/мм</a:t>
                </a:r>
              </a:p>
            </p:txBody>
          </p:sp>
          <p:sp>
            <p:nvSpPr>
              <p:cNvPr id="95" name="Полилиния 94"/>
              <p:cNvSpPr/>
              <p:nvPr/>
            </p:nvSpPr>
            <p:spPr>
              <a:xfrm>
                <a:off x="4527898" y="3382060"/>
                <a:ext cx="684809" cy="736824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32695" tIns="146510" rIns="132695" bIns="146511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Прочность сваривания 200 г/мм </a:t>
                </a:r>
                <a:r>
                  <a:rPr lang="ru-RU" sz="488" b="1" dirty="0" err="1">
                    <a:solidFill>
                      <a:schemeClr val="bg1"/>
                    </a:solidFill>
                  </a:rPr>
                  <a:t>пр</a:t>
                </a:r>
                <a:r>
                  <a:rPr lang="ru-RU" sz="488" b="1" dirty="0">
                    <a:solidFill>
                      <a:schemeClr val="bg1"/>
                    </a:solidFill>
                  </a:rPr>
                  <a:t> 5 пси, 5 сек и 80 град. и ниже 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/>
              </a:p>
            </p:txBody>
          </p:sp>
          <p:sp>
            <p:nvSpPr>
              <p:cNvPr id="96" name="Полилиния 95"/>
              <p:cNvSpPr/>
              <p:nvPr/>
            </p:nvSpPr>
            <p:spPr>
              <a:xfrm>
                <a:off x="5263245" y="3376117"/>
                <a:ext cx="601156" cy="734299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bg1"/>
                </a:fgClr>
                <a:bgClr>
                  <a:schemeClr val="accent3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3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3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2452" tIns="106267" rIns="92453" bIns="106268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Слой В включает - слип – добавку с не менее 0,2 % силикона</a:t>
                </a:r>
              </a:p>
            </p:txBody>
          </p:sp>
          <p:sp>
            <p:nvSpPr>
              <p:cNvPr id="97" name="Полилиния 96"/>
              <p:cNvSpPr/>
              <p:nvPr/>
            </p:nvSpPr>
            <p:spPr>
              <a:xfrm>
                <a:off x="3140483" y="856279"/>
                <a:ext cx="683472" cy="755552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bg1"/>
                </a:fgClr>
                <a:bgClr>
                  <a:schemeClr val="accent3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25988" tIns="139803" rIns="125988" bIns="139803" numCol="1" spcCol="1270" anchor="ctr" anchorCtr="0">
                <a:noAutofit/>
              </a:bodyPr>
              <a:lstStyle/>
              <a:p>
                <a:pPr algn="ctr" defTabSz="46948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Пленка трехслойная ( слои А, В, С) </a:t>
                </a:r>
              </a:p>
            </p:txBody>
          </p:sp>
          <p:sp>
            <p:nvSpPr>
              <p:cNvPr id="98" name="Полилиния 97"/>
              <p:cNvSpPr/>
              <p:nvPr/>
            </p:nvSpPr>
            <p:spPr>
              <a:xfrm>
                <a:off x="2437088" y="856278"/>
                <a:ext cx="662430" cy="761046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bg1"/>
                </a:fgClr>
                <a:bgClr>
                  <a:schemeClr val="accent3"/>
                </a:bgClr>
              </a:pattFill>
              <a:ln w="22225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dirty="0">
                    <a:ln w="0"/>
                    <a:solidFill>
                      <a:schemeClr val="bg1"/>
                    </a:solidFill>
                  </a:rPr>
                  <a:t>Полиолефиновая</a:t>
                </a:r>
              </a:p>
            </p:txBody>
          </p:sp>
          <p:sp>
            <p:nvSpPr>
              <p:cNvPr id="99" name="Полилиния 98"/>
              <p:cNvSpPr/>
              <p:nvPr/>
            </p:nvSpPr>
            <p:spPr>
              <a:xfrm>
                <a:off x="2781537" y="1488019"/>
                <a:ext cx="677162" cy="743661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bg1"/>
                </a:fgClr>
                <a:bgClr>
                  <a:schemeClr val="accent3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25988" tIns="139803" rIns="125988" bIns="139803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Температура термосваривания больше 80 град  </a:t>
                </a:r>
              </a:p>
            </p:txBody>
          </p:sp>
          <p:sp>
            <p:nvSpPr>
              <p:cNvPr id="100" name="Полилиния 99"/>
              <p:cNvSpPr/>
              <p:nvPr/>
            </p:nvSpPr>
            <p:spPr>
              <a:xfrm>
                <a:off x="3493926" y="1507533"/>
                <a:ext cx="646247" cy="713811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Температура термосваривания меньше 80 град  </a:t>
                </a:r>
              </a:p>
            </p:txBody>
          </p:sp>
          <p:sp>
            <p:nvSpPr>
              <p:cNvPr id="101" name="Полилиния 100"/>
              <p:cNvSpPr/>
              <p:nvPr/>
            </p:nvSpPr>
            <p:spPr>
              <a:xfrm>
                <a:off x="3169390" y="2115314"/>
                <a:ext cx="625430" cy="741990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25988" tIns="139803" rIns="125988" bIns="139803" numCol="1" spcCol="1270" anchor="ctr" anchorCtr="0">
                <a:noAutofit/>
              </a:bodyPr>
              <a:lstStyle/>
              <a:p>
                <a:pPr algn="ctr" defTabSz="39124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х и у равно 2-4</a:t>
                </a:r>
              </a:p>
            </p:txBody>
          </p:sp>
          <p:sp>
            <p:nvSpPr>
              <p:cNvPr id="102" name="Полилиния 101"/>
              <p:cNvSpPr/>
              <p:nvPr/>
            </p:nvSpPr>
            <p:spPr>
              <a:xfrm>
                <a:off x="2420563" y="2102824"/>
                <a:ext cx="695685" cy="757559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391241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Слой В  имеет низкий порог термосваривания</a:t>
                </a:r>
              </a:p>
            </p:txBody>
          </p:sp>
          <p:sp>
            <p:nvSpPr>
              <p:cNvPr id="103" name="Полилиния 102"/>
              <p:cNvSpPr/>
              <p:nvPr/>
            </p:nvSpPr>
            <p:spPr>
              <a:xfrm>
                <a:off x="2813453" y="2730773"/>
                <a:ext cx="634336" cy="752467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25988" tIns="139803" rIns="125988" bIns="139803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Пленка в форме рукава, окружающего упаковку</a:t>
                </a:r>
              </a:p>
            </p:txBody>
          </p:sp>
          <p:sp>
            <p:nvSpPr>
              <p:cNvPr id="108" name="Полилиния 107"/>
              <p:cNvSpPr/>
              <p:nvPr/>
            </p:nvSpPr>
            <p:spPr>
              <a:xfrm>
                <a:off x="3498082" y="2748789"/>
                <a:ext cx="660014" cy="735685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bg1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/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Слои А и В – из одного или разных полимеров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616" b="1" dirty="0"/>
              </a:p>
            </p:txBody>
          </p:sp>
          <p:sp>
            <p:nvSpPr>
              <p:cNvPr id="109" name="Полилиния 108"/>
              <p:cNvSpPr/>
              <p:nvPr/>
            </p:nvSpPr>
            <p:spPr>
              <a:xfrm>
                <a:off x="3134003" y="3361547"/>
                <a:ext cx="667325" cy="757338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25988" tIns="139803" rIns="125988" bIns="139803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/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Прочность сваривания А/А, А/В или В/В выше, чем с пачкой на 150г/25мм 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616" b="1" dirty="0"/>
              </a:p>
            </p:txBody>
          </p:sp>
          <p:sp>
            <p:nvSpPr>
              <p:cNvPr id="110" name="Полилиния 109"/>
              <p:cNvSpPr/>
              <p:nvPr/>
            </p:nvSpPr>
            <p:spPr>
              <a:xfrm>
                <a:off x="2452455" y="3374126"/>
                <a:ext cx="635012" cy="723922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/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Прочность сваривания А/А, А/В или В/</a:t>
                </a:r>
                <a:r>
                  <a:rPr lang="ru-RU" sz="488" b="1" dirty="0" err="1"/>
                  <a:t>Ввыше</a:t>
                </a:r>
                <a:r>
                  <a:rPr lang="ru-RU" sz="488" b="1" dirty="0"/>
                  <a:t>, чем с пачкой на 50г/25мм 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/>
              </a:p>
            </p:txBody>
          </p:sp>
          <p:sp>
            <p:nvSpPr>
              <p:cNvPr id="111" name="Полилиния 110"/>
              <p:cNvSpPr/>
              <p:nvPr/>
            </p:nvSpPr>
            <p:spPr>
              <a:xfrm>
                <a:off x="5908696" y="3399325"/>
                <a:ext cx="674682" cy="739715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bg1"/>
                </a:fgClr>
                <a:bgClr>
                  <a:schemeClr val="accent3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25988" tIns="139803" rIns="125988" bIns="139804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 err="1"/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/>
                  <a:t>Слой В включает - слип – добавку с менее 0,2 % силикона и </a:t>
                </a:r>
                <a:r>
                  <a:rPr lang="ru-RU" sz="488" b="1" dirty="0" err="1"/>
                  <a:t>несиликона</a:t>
                </a:r>
                <a:r>
                  <a:rPr lang="ru-RU" sz="488" b="1" dirty="0"/>
                  <a:t> – более 1%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/>
              </a:p>
            </p:txBody>
          </p:sp>
          <p:sp>
            <p:nvSpPr>
              <p:cNvPr id="112" name="Полилиния 111"/>
              <p:cNvSpPr/>
              <p:nvPr/>
            </p:nvSpPr>
            <p:spPr>
              <a:xfrm>
                <a:off x="6631952" y="3403383"/>
                <a:ext cx="654112" cy="733272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2452" tIns="106267" rIns="92453" bIns="106268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528" b="1" dirty="0"/>
                  <a:t>Слип – добавка  включает </a:t>
                </a:r>
                <a:r>
                  <a:rPr lang="ru-RU" sz="528" b="1" dirty="0" err="1"/>
                  <a:t>силику</a:t>
                </a:r>
                <a:r>
                  <a:rPr lang="ru-RU" sz="528" b="1" dirty="0"/>
                  <a:t> или силикаты </a:t>
                </a:r>
              </a:p>
            </p:txBody>
          </p:sp>
          <p:sp>
            <p:nvSpPr>
              <p:cNvPr id="113" name="Полилиния 112"/>
              <p:cNvSpPr/>
              <p:nvPr/>
            </p:nvSpPr>
            <p:spPr>
              <a:xfrm>
                <a:off x="4541837" y="883028"/>
                <a:ext cx="646030" cy="734298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32695" tIns="146510" rIns="132695" bIns="146510" numCol="1" spcCol="1270" anchor="ctr" anchorCtr="0">
                <a:noAutofit/>
              </a:bodyPr>
              <a:lstStyle/>
              <a:p>
                <a:pPr algn="ctr" defTabSz="46948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ln w="0"/>
                    <a:solidFill>
                      <a:schemeClr val="bg1"/>
                    </a:solidFill>
                  </a:rPr>
                  <a:t>Блеск (45 град. С) не менее 95%</a:t>
                </a:r>
              </a:p>
            </p:txBody>
          </p:sp>
          <p:sp>
            <p:nvSpPr>
              <p:cNvPr id="114" name="Полилиния 113"/>
              <p:cNvSpPr/>
              <p:nvPr/>
            </p:nvSpPr>
            <p:spPr>
              <a:xfrm>
                <a:off x="3870944" y="875280"/>
                <a:ext cx="635558" cy="748867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bg1"/>
                </a:fgClr>
                <a:bgClr>
                  <a:schemeClr val="accent3"/>
                </a:bgClr>
              </a:pattFill>
              <a:ln w="22225">
                <a:solidFill>
                  <a:schemeClr val="accent3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ln w="0"/>
                    <a:solidFill>
                      <a:schemeClr val="bg1"/>
                    </a:solidFill>
                  </a:rPr>
                  <a:t>Слой А  не сваривается с пачкой</a:t>
                </a:r>
              </a:p>
            </p:txBody>
          </p:sp>
          <p:sp>
            <p:nvSpPr>
              <p:cNvPr id="115" name="Полилиния 114"/>
              <p:cNvSpPr/>
              <p:nvPr/>
            </p:nvSpPr>
            <p:spPr>
              <a:xfrm>
                <a:off x="4179067" y="1507533"/>
                <a:ext cx="678760" cy="733065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bg1"/>
                </a:fgClr>
                <a:bgClr>
                  <a:schemeClr val="accent3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32695" tIns="146510" rIns="132695" bIns="146510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Температура термосваривания меньше 200 град  </a:t>
                </a:r>
              </a:p>
              <a:p>
                <a:pPr algn="ctr" defTabSz="46948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616" b="1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16" name="Полилиния 115"/>
              <p:cNvSpPr/>
              <p:nvPr/>
            </p:nvSpPr>
            <p:spPr>
              <a:xfrm>
                <a:off x="4904816" y="1507532"/>
                <a:ext cx="644072" cy="742705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accent3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К трения </a:t>
                </a:r>
                <a:r>
                  <a:rPr lang="ru-RU" sz="488" b="1" dirty="0" err="1">
                    <a:solidFill>
                      <a:schemeClr val="bg1"/>
                    </a:solidFill>
                  </a:rPr>
                  <a:t>окр</a:t>
                </a:r>
                <a:r>
                  <a:rPr lang="ru-RU" sz="488" b="1" dirty="0">
                    <a:solidFill>
                      <a:schemeClr val="bg1"/>
                    </a:solidFill>
                  </a:rPr>
                  <a:t>. среды – не более 0,5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616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7" name="Полилиния 116"/>
              <p:cNvSpPr/>
              <p:nvPr/>
            </p:nvSpPr>
            <p:spPr>
              <a:xfrm>
                <a:off x="4541838" y="2129573"/>
                <a:ext cx="646512" cy="734298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32695" tIns="146510" rIns="132695" bIns="146510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Время сваривания -  0,05-2 сек. 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616" b="1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18" name="Полилиния 117"/>
              <p:cNvSpPr/>
              <p:nvPr/>
            </p:nvSpPr>
            <p:spPr>
              <a:xfrm>
                <a:off x="3836504" y="2111717"/>
                <a:ext cx="666932" cy="756212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А и В имеют условие сваривания-повышенные температура и давление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616" b="1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19" name="Полилиния 118"/>
              <p:cNvSpPr/>
              <p:nvPr/>
            </p:nvSpPr>
            <p:spPr>
              <a:xfrm>
                <a:off x="4203418" y="2748789"/>
                <a:ext cx="634477" cy="750981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bg1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32695" tIns="146510" rIns="132695" bIns="146510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Слои А и В – из разных полимеров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616" dirty="0"/>
              </a:p>
            </p:txBody>
          </p:sp>
          <p:sp>
            <p:nvSpPr>
              <p:cNvPr id="120" name="Полилиния 119"/>
              <p:cNvSpPr/>
              <p:nvPr/>
            </p:nvSpPr>
            <p:spPr>
              <a:xfrm>
                <a:off x="4882053" y="2752846"/>
                <a:ext cx="664736" cy="734298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35211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А и/или В- </a:t>
                </a:r>
                <a:r>
                  <a:rPr lang="ru-RU" sz="488" b="1" dirty="0" err="1">
                    <a:solidFill>
                      <a:schemeClr val="bg1"/>
                    </a:solidFill>
                  </a:rPr>
                  <a:t>терполимер</a:t>
                </a:r>
                <a:r>
                  <a:rPr lang="ru-RU" sz="488" b="1" dirty="0">
                    <a:solidFill>
                      <a:schemeClr val="bg1"/>
                    </a:solidFill>
                  </a:rPr>
                  <a:t> этилена, пропилена и бутена</a:t>
                </a:r>
              </a:p>
            </p:txBody>
          </p:sp>
          <p:sp>
            <p:nvSpPr>
              <p:cNvPr id="121" name="Полилиния 120"/>
              <p:cNvSpPr/>
              <p:nvPr/>
            </p:nvSpPr>
            <p:spPr>
              <a:xfrm>
                <a:off x="3846650" y="3361549"/>
                <a:ext cx="623467" cy="748867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Прочность сваривания 200 г/мм </a:t>
                </a:r>
                <a:r>
                  <a:rPr lang="ru-RU" sz="488" b="1" dirty="0" err="1">
                    <a:solidFill>
                      <a:schemeClr val="bg1"/>
                    </a:solidFill>
                  </a:rPr>
                  <a:t>пр</a:t>
                </a:r>
                <a:r>
                  <a:rPr lang="ru-RU" sz="488" b="1" dirty="0">
                    <a:solidFill>
                      <a:schemeClr val="bg1"/>
                    </a:solidFill>
                  </a:rPr>
                  <a:t> 5 пси, 5 сек и 90 град. И ниже 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616" b="1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22" name="Полилиния 121"/>
              <p:cNvSpPr/>
              <p:nvPr/>
            </p:nvSpPr>
            <p:spPr>
              <a:xfrm>
                <a:off x="6979105" y="2768064"/>
                <a:ext cx="639868" cy="747424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solidFill>
                <a:schemeClr val="accent3"/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accent1">
                  <a:shade val="80000"/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132695" tIns="146510" rIns="132695" bIns="146511" numCol="1" spcCol="1270" anchor="ctr" anchorCtr="0">
                <a:noAutofit/>
              </a:bodyPr>
              <a:lstStyle/>
              <a:p>
                <a:pPr algn="ctr"/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/>
                <a:r>
                  <a:rPr lang="ru-RU" sz="488" b="1" dirty="0">
                    <a:solidFill>
                      <a:schemeClr val="bg1"/>
                    </a:solidFill>
                  </a:rPr>
                  <a:t>Широко/</a:t>
                </a:r>
                <a:r>
                  <a:rPr lang="ru-RU" sz="488" b="1" dirty="0" err="1">
                    <a:solidFill>
                      <a:schemeClr val="bg1"/>
                    </a:solidFill>
                  </a:rPr>
                  <a:t>узкоугольное</a:t>
                </a:r>
                <a:r>
                  <a:rPr lang="ru-RU" sz="488" b="1" dirty="0">
                    <a:solidFill>
                      <a:schemeClr val="bg1"/>
                    </a:solidFill>
                  </a:rPr>
                  <a:t> рассеяние не менее 3%</a:t>
                </a:r>
              </a:p>
              <a:p>
                <a:pPr lvl="0" algn="ctr"/>
                <a:endParaRPr lang="ru-RU" sz="616" b="1" dirty="0">
                  <a:solidFill>
                    <a:schemeClr val="accent1">
                      <a:lumMod val="50000"/>
                    </a:schemeClr>
                  </a:solidFill>
                </a:endParaRPr>
              </a:p>
            </p:txBody>
          </p:sp>
          <p:sp>
            <p:nvSpPr>
              <p:cNvPr id="123" name="Полилиния 122"/>
              <p:cNvSpPr/>
              <p:nvPr/>
            </p:nvSpPr>
            <p:spPr>
              <a:xfrm>
                <a:off x="5927793" y="883026"/>
                <a:ext cx="704158" cy="743384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5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22634" tIns="136449" rIns="122634" bIns="136449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Т сваривания А/А, А/В или В/В выше, чем с пачкой на 15 град.</a:t>
                </a:r>
              </a:p>
            </p:txBody>
          </p:sp>
          <p:sp>
            <p:nvSpPr>
              <p:cNvPr id="124" name="Полилиния 123"/>
              <p:cNvSpPr/>
              <p:nvPr/>
            </p:nvSpPr>
            <p:spPr>
              <a:xfrm>
                <a:off x="5233079" y="895400"/>
                <a:ext cx="659148" cy="740026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 w="22225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alpha val="90000"/>
                  <a:hueOff val="0"/>
                  <a:satOff val="0"/>
                  <a:lumOff val="0"/>
                  <a:alphaOff val="-3636"/>
                </a:schemeClr>
              </a:fillRef>
              <a:effectRef idx="0">
                <a:schemeClr val="accent5">
                  <a:alpha val="90000"/>
                  <a:hueOff val="0"/>
                  <a:satOff val="0"/>
                  <a:lumOff val="0"/>
                  <a:alphaOff val="-3636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Т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сваривания А/А, А/В или В/В выше, чем с пачкой на 10%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i="1" dirty="0">
                  <a:solidFill>
                    <a:schemeClr val="bg1"/>
                  </a:solidFill>
                  <a:effectLst>
                    <a:glow rad="228600">
                      <a:schemeClr val="accent2">
                        <a:satMod val="175000"/>
                        <a:alpha val="40000"/>
                      </a:schemeClr>
                    </a:glow>
                  </a:effectLst>
                </a:endParaRPr>
              </a:p>
            </p:txBody>
          </p:sp>
          <p:sp>
            <p:nvSpPr>
              <p:cNvPr id="125" name="Полилиния 124"/>
              <p:cNvSpPr/>
              <p:nvPr/>
            </p:nvSpPr>
            <p:spPr>
              <a:xfrm>
                <a:off x="5597327" y="1518672"/>
                <a:ext cx="646512" cy="734298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alpha val="90000"/>
                  <a:hueOff val="0"/>
                  <a:satOff val="0"/>
                  <a:lumOff val="0"/>
                  <a:alphaOff val="-7273"/>
                </a:schemeClr>
              </a:fillRef>
              <a:effectRef idx="0">
                <a:schemeClr val="accent5">
                  <a:alpha val="90000"/>
                  <a:hueOff val="0"/>
                  <a:satOff val="0"/>
                  <a:lumOff val="0"/>
                  <a:alphaOff val="-7273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22634" tIns="136449" rIns="122634" bIns="136449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К трения 60 град.– не более 0,5</a:t>
                </a:r>
              </a:p>
            </p:txBody>
          </p:sp>
          <p:sp>
            <p:nvSpPr>
              <p:cNvPr id="126" name="Полилиния 125"/>
              <p:cNvSpPr/>
              <p:nvPr/>
            </p:nvSpPr>
            <p:spPr>
              <a:xfrm>
                <a:off x="6301418" y="1531924"/>
                <a:ext cx="646512" cy="708878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alpha val="90000"/>
                  <a:hueOff val="0"/>
                  <a:satOff val="0"/>
                  <a:lumOff val="0"/>
                  <a:alphaOff val="-10909"/>
                </a:schemeClr>
              </a:fillRef>
              <a:effectRef idx="0">
                <a:schemeClr val="accent5">
                  <a:alpha val="90000"/>
                  <a:hueOff val="0"/>
                  <a:satOff val="0"/>
                  <a:lumOff val="0"/>
                  <a:alphaOff val="-10909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К трения 80 град.– не более 0,5</a:t>
                </a:r>
              </a:p>
            </p:txBody>
          </p:sp>
          <p:sp>
            <p:nvSpPr>
              <p:cNvPr id="127" name="Полилиния 126"/>
              <p:cNvSpPr/>
              <p:nvPr/>
            </p:nvSpPr>
            <p:spPr>
              <a:xfrm>
                <a:off x="5942324" y="2125749"/>
                <a:ext cx="657346" cy="759185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alpha val="90000"/>
                  <a:hueOff val="0"/>
                  <a:satOff val="0"/>
                  <a:lumOff val="0"/>
                  <a:alphaOff val="-14545"/>
                </a:schemeClr>
              </a:fillRef>
              <a:effectRef idx="0">
                <a:schemeClr val="accent5">
                  <a:alpha val="90000"/>
                  <a:hueOff val="0"/>
                  <a:satOff val="0"/>
                  <a:lumOff val="0"/>
                  <a:alphaOff val="-14545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22634" tIns="136449" rIns="122634" bIns="136449" numCol="1" spcCol="1270" anchor="ctr" anchorCtr="0">
                <a:noAutofit/>
              </a:bodyPr>
              <a:lstStyle/>
              <a:p>
                <a:pPr algn="ctr" defTabSz="35211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35211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А и/или В-смесь полиолефиновых сополимеров</a:t>
                </a:r>
              </a:p>
              <a:p>
                <a:pPr algn="ctr" defTabSz="35211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616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8" name="Полилиния 127"/>
              <p:cNvSpPr/>
              <p:nvPr/>
            </p:nvSpPr>
            <p:spPr>
              <a:xfrm>
                <a:off x="5249547" y="2141945"/>
                <a:ext cx="646512" cy="734298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alpha val="90000"/>
                  <a:hueOff val="0"/>
                  <a:satOff val="0"/>
                  <a:lumOff val="0"/>
                  <a:alphaOff val="-18182"/>
                </a:schemeClr>
              </a:fillRef>
              <a:effectRef idx="0">
                <a:schemeClr val="accent5">
                  <a:alpha val="90000"/>
                  <a:hueOff val="0"/>
                  <a:satOff val="0"/>
                  <a:lumOff val="0"/>
                  <a:alphaOff val="-18182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35211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35211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А и/или В-смесь полипропиленовых сополимеров</a:t>
                </a:r>
              </a:p>
              <a:p>
                <a:pPr algn="ctr" defTabSz="35211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616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29" name="Полилиния 128"/>
              <p:cNvSpPr/>
              <p:nvPr/>
            </p:nvSpPr>
            <p:spPr>
              <a:xfrm>
                <a:off x="5597328" y="2765218"/>
                <a:ext cx="646510" cy="744854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alpha val="90000"/>
                  <a:hueOff val="0"/>
                  <a:satOff val="0"/>
                  <a:lumOff val="0"/>
                  <a:alphaOff val="-21818"/>
                </a:schemeClr>
              </a:fillRef>
              <a:effectRef idx="0">
                <a:schemeClr val="accent5">
                  <a:alpha val="90000"/>
                  <a:hueOff val="0"/>
                  <a:satOff val="0"/>
                  <a:lumOff val="0"/>
                  <a:alphaOff val="-21818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22634" tIns="136449" rIns="122634" bIns="136449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Мутность пленки менее 5%</a:t>
                </a:r>
              </a:p>
            </p:txBody>
          </p:sp>
          <p:sp>
            <p:nvSpPr>
              <p:cNvPr id="130" name="Полилиния 129"/>
              <p:cNvSpPr/>
              <p:nvPr/>
            </p:nvSpPr>
            <p:spPr>
              <a:xfrm>
                <a:off x="6288134" y="2763565"/>
                <a:ext cx="650893" cy="769538"/>
              </a:xfrm>
              <a:custGeom>
                <a:avLst/>
                <a:gdLst>
                  <a:gd name="connsiteX0" fmla="*/ 0 w 774733"/>
                  <a:gd name="connsiteY0" fmla="*/ 337009 h 674017"/>
                  <a:gd name="connsiteX1" fmla="*/ 168504 w 774733"/>
                  <a:gd name="connsiteY1" fmla="*/ 0 h 674017"/>
                  <a:gd name="connsiteX2" fmla="*/ 606229 w 774733"/>
                  <a:gd name="connsiteY2" fmla="*/ 0 h 674017"/>
                  <a:gd name="connsiteX3" fmla="*/ 774733 w 774733"/>
                  <a:gd name="connsiteY3" fmla="*/ 337009 h 674017"/>
                  <a:gd name="connsiteX4" fmla="*/ 606229 w 774733"/>
                  <a:gd name="connsiteY4" fmla="*/ 674017 h 674017"/>
                  <a:gd name="connsiteX5" fmla="*/ 168504 w 774733"/>
                  <a:gd name="connsiteY5" fmla="*/ 674017 h 674017"/>
                  <a:gd name="connsiteX6" fmla="*/ 0 w 774733"/>
                  <a:gd name="connsiteY6" fmla="*/ 337009 h 67401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74733" h="674017">
                    <a:moveTo>
                      <a:pt x="387366" y="0"/>
                    </a:moveTo>
                    <a:lnTo>
                      <a:pt x="774733" y="146598"/>
                    </a:lnTo>
                    <a:lnTo>
                      <a:pt x="774733" y="527419"/>
                    </a:lnTo>
                    <a:lnTo>
                      <a:pt x="387366" y="674017"/>
                    </a:lnTo>
                    <a:lnTo>
                      <a:pt x="0" y="527419"/>
                    </a:lnTo>
                    <a:lnTo>
                      <a:pt x="0" y="146598"/>
                    </a:lnTo>
                    <a:lnTo>
                      <a:pt x="387366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5">
                  <a:alpha val="90000"/>
                  <a:hueOff val="0"/>
                  <a:satOff val="0"/>
                  <a:lumOff val="0"/>
                  <a:alphaOff val="-25455"/>
                </a:schemeClr>
              </a:fillRef>
              <a:effectRef idx="0">
                <a:schemeClr val="accent5">
                  <a:alpha val="90000"/>
                  <a:hueOff val="0"/>
                  <a:satOff val="0"/>
                  <a:lumOff val="0"/>
                  <a:alphaOff val="-25455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92452" tIns="106267" rIns="92452" bIns="106267" numCol="1" spcCol="1270" anchor="ctr" anchorCtr="0">
                <a:noAutofit/>
              </a:bodyPr>
              <a:lstStyle/>
              <a:p>
                <a:pPr algn="ctr" defTabSz="35211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Широкоугольное рассеяние не менее 3%</a:t>
                </a:r>
              </a:p>
              <a:p>
                <a:pPr algn="ctr" defTabSz="35211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1" name="Полилиния 130"/>
              <p:cNvSpPr/>
              <p:nvPr/>
            </p:nvSpPr>
            <p:spPr>
              <a:xfrm>
                <a:off x="7708437" y="941242"/>
                <a:ext cx="702770" cy="697293"/>
              </a:xfrm>
              <a:custGeom>
                <a:avLst/>
                <a:gdLst>
                  <a:gd name="connsiteX0" fmla="*/ 0 w 731934"/>
                  <a:gd name="connsiteY0" fmla="*/ 318391 h 636782"/>
                  <a:gd name="connsiteX1" fmla="*/ 159196 w 731934"/>
                  <a:gd name="connsiteY1" fmla="*/ 0 h 636782"/>
                  <a:gd name="connsiteX2" fmla="*/ 572739 w 731934"/>
                  <a:gd name="connsiteY2" fmla="*/ 0 h 636782"/>
                  <a:gd name="connsiteX3" fmla="*/ 731934 w 731934"/>
                  <a:gd name="connsiteY3" fmla="*/ 318391 h 636782"/>
                  <a:gd name="connsiteX4" fmla="*/ 572739 w 731934"/>
                  <a:gd name="connsiteY4" fmla="*/ 636782 h 636782"/>
                  <a:gd name="connsiteX5" fmla="*/ 159196 w 731934"/>
                  <a:gd name="connsiteY5" fmla="*/ 636782 h 636782"/>
                  <a:gd name="connsiteX6" fmla="*/ 0 w 731934"/>
                  <a:gd name="connsiteY6" fmla="*/ 318391 h 636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1934" h="636782">
                    <a:moveTo>
                      <a:pt x="365967" y="0"/>
                    </a:moveTo>
                    <a:lnTo>
                      <a:pt x="731934" y="138500"/>
                    </a:lnTo>
                    <a:lnTo>
                      <a:pt x="731934" y="498282"/>
                    </a:lnTo>
                    <a:lnTo>
                      <a:pt x="365967" y="636782"/>
                    </a:lnTo>
                    <a:lnTo>
                      <a:pt x="0" y="498282"/>
                    </a:lnTo>
                    <a:lnTo>
                      <a:pt x="0" y="138500"/>
                    </a:lnTo>
                    <a:lnTo>
                      <a:pt x="365967" y="0"/>
                    </a:lnTo>
                    <a:close/>
                  </a:path>
                </a:pathLst>
              </a:custGeom>
              <a:pattFill prst="pct5">
                <a:fgClr>
                  <a:schemeClr val="accent1">
                    <a:lumMod val="75000"/>
                  </a:schemeClr>
                </a:fgClr>
                <a:bgClr>
                  <a:schemeClr val="accent5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10820" tIns="123872" rIns="110820" bIns="123872" numCol="1" spcCol="1270" anchor="ctr" anchorCtr="0">
                <a:noAutofit/>
              </a:bodyPr>
              <a:lstStyle/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Способ получение </a:t>
                </a:r>
                <a:r>
                  <a:rPr lang="ru-RU" sz="488" b="1" dirty="0" err="1">
                    <a:solidFill>
                      <a:schemeClr val="bg1"/>
                    </a:solidFill>
                  </a:rPr>
                  <a:t>бескорпусной</a:t>
                </a:r>
                <a:r>
                  <a:rPr lang="ru-RU" sz="488" b="1" dirty="0">
                    <a:solidFill>
                      <a:schemeClr val="bg1"/>
                    </a:solidFill>
                  </a:rPr>
                  <a:t> групповой упаковки</a:t>
                </a:r>
              </a:p>
            </p:txBody>
          </p:sp>
          <p:sp>
            <p:nvSpPr>
              <p:cNvPr id="133" name="Полилиния 132"/>
              <p:cNvSpPr/>
              <p:nvPr/>
            </p:nvSpPr>
            <p:spPr>
              <a:xfrm>
                <a:off x="7384103" y="1531923"/>
                <a:ext cx="670443" cy="732137"/>
              </a:xfrm>
              <a:custGeom>
                <a:avLst/>
                <a:gdLst>
                  <a:gd name="connsiteX0" fmla="*/ 0 w 731934"/>
                  <a:gd name="connsiteY0" fmla="*/ 318391 h 636782"/>
                  <a:gd name="connsiteX1" fmla="*/ 159196 w 731934"/>
                  <a:gd name="connsiteY1" fmla="*/ 0 h 636782"/>
                  <a:gd name="connsiteX2" fmla="*/ 572739 w 731934"/>
                  <a:gd name="connsiteY2" fmla="*/ 0 h 636782"/>
                  <a:gd name="connsiteX3" fmla="*/ 731934 w 731934"/>
                  <a:gd name="connsiteY3" fmla="*/ 318391 h 636782"/>
                  <a:gd name="connsiteX4" fmla="*/ 572739 w 731934"/>
                  <a:gd name="connsiteY4" fmla="*/ 636782 h 636782"/>
                  <a:gd name="connsiteX5" fmla="*/ 159196 w 731934"/>
                  <a:gd name="connsiteY5" fmla="*/ 636782 h 636782"/>
                  <a:gd name="connsiteX6" fmla="*/ 0 w 731934"/>
                  <a:gd name="connsiteY6" fmla="*/ 318391 h 636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1934" h="636782">
                    <a:moveTo>
                      <a:pt x="365967" y="0"/>
                    </a:moveTo>
                    <a:lnTo>
                      <a:pt x="731934" y="138500"/>
                    </a:lnTo>
                    <a:lnTo>
                      <a:pt x="731934" y="498282"/>
                    </a:lnTo>
                    <a:lnTo>
                      <a:pt x="365967" y="636782"/>
                    </a:lnTo>
                    <a:lnTo>
                      <a:pt x="0" y="498282"/>
                    </a:lnTo>
                    <a:lnTo>
                      <a:pt x="0" y="138500"/>
                    </a:lnTo>
                    <a:lnTo>
                      <a:pt x="365967" y="0"/>
                    </a:lnTo>
                    <a:close/>
                  </a:path>
                </a:pathLst>
              </a:custGeom>
              <a:pattFill prst="pct5">
                <a:fgClr>
                  <a:schemeClr val="accent1">
                    <a:lumMod val="75000"/>
                  </a:schemeClr>
                </a:fgClr>
                <a:bgClr>
                  <a:schemeClr val="accent5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10820" tIns="123872" rIns="110820" bIns="123872" numCol="1" spcCol="1270" anchor="ctr" anchorCtr="0">
                <a:noAutofit/>
              </a:bodyPr>
              <a:lstStyle/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/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Обеспечение пленки для </a:t>
                </a:r>
                <a:r>
                  <a:rPr lang="ru-RU" sz="488" b="1" dirty="0" err="1">
                    <a:solidFill>
                      <a:schemeClr val="bg1"/>
                    </a:solidFill>
                  </a:rPr>
                  <a:t>бескорпусной</a:t>
                </a:r>
                <a:r>
                  <a:rPr lang="ru-RU" sz="488" b="1" dirty="0">
                    <a:solidFill>
                      <a:schemeClr val="bg1"/>
                    </a:solidFill>
                  </a:rPr>
                  <a:t> групповой упаковки</a:t>
                </a:r>
              </a:p>
              <a:p>
                <a:pPr algn="ctr" defTabSz="140846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4" name="Полилиния 133"/>
              <p:cNvSpPr/>
              <p:nvPr/>
            </p:nvSpPr>
            <p:spPr>
              <a:xfrm>
                <a:off x="8104838" y="1530659"/>
                <a:ext cx="630652" cy="759915"/>
              </a:xfrm>
              <a:custGeom>
                <a:avLst/>
                <a:gdLst>
                  <a:gd name="connsiteX0" fmla="*/ 0 w 731934"/>
                  <a:gd name="connsiteY0" fmla="*/ 318391 h 636782"/>
                  <a:gd name="connsiteX1" fmla="*/ 159196 w 731934"/>
                  <a:gd name="connsiteY1" fmla="*/ 0 h 636782"/>
                  <a:gd name="connsiteX2" fmla="*/ 572739 w 731934"/>
                  <a:gd name="connsiteY2" fmla="*/ 0 h 636782"/>
                  <a:gd name="connsiteX3" fmla="*/ 731934 w 731934"/>
                  <a:gd name="connsiteY3" fmla="*/ 318391 h 636782"/>
                  <a:gd name="connsiteX4" fmla="*/ 572739 w 731934"/>
                  <a:gd name="connsiteY4" fmla="*/ 636782 h 636782"/>
                  <a:gd name="connsiteX5" fmla="*/ 159196 w 731934"/>
                  <a:gd name="connsiteY5" fmla="*/ 636782 h 636782"/>
                  <a:gd name="connsiteX6" fmla="*/ 0 w 731934"/>
                  <a:gd name="connsiteY6" fmla="*/ 318391 h 636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1934" h="636782">
                    <a:moveTo>
                      <a:pt x="365967" y="0"/>
                    </a:moveTo>
                    <a:lnTo>
                      <a:pt x="731934" y="138500"/>
                    </a:lnTo>
                    <a:lnTo>
                      <a:pt x="731934" y="498282"/>
                    </a:lnTo>
                    <a:lnTo>
                      <a:pt x="365967" y="636782"/>
                    </a:lnTo>
                    <a:lnTo>
                      <a:pt x="0" y="498282"/>
                    </a:lnTo>
                    <a:lnTo>
                      <a:pt x="0" y="138500"/>
                    </a:lnTo>
                    <a:lnTo>
                      <a:pt x="365967" y="0"/>
                    </a:lnTo>
                    <a:close/>
                  </a:path>
                </a:pathLst>
              </a:custGeom>
              <a:solidFill>
                <a:schemeClr val="accent5"/>
              </a:solid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87345" tIns="100397" rIns="87345" bIns="100397" numCol="1" spcCol="1270" anchor="ctr" anchorCtr="0">
                <a:noAutofit/>
              </a:bodyPr>
              <a:lstStyle/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 Компоновка обернутых пачек с о слоем А пленки для </a:t>
                </a:r>
                <a:r>
                  <a:rPr lang="ru-RU" sz="488" b="1" dirty="0" err="1">
                    <a:solidFill>
                      <a:schemeClr val="bg1"/>
                    </a:solidFill>
                  </a:rPr>
                  <a:t>бескорпусной</a:t>
                </a:r>
                <a:r>
                  <a:rPr lang="ru-RU" sz="488" b="1" dirty="0">
                    <a:solidFill>
                      <a:schemeClr val="bg1"/>
                    </a:solidFill>
                  </a:rPr>
                  <a:t> упаковки</a:t>
                </a:r>
                <a:endParaRPr lang="ru-RU" sz="616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5" name="Полилиния 134"/>
              <p:cNvSpPr/>
              <p:nvPr/>
            </p:nvSpPr>
            <p:spPr>
              <a:xfrm>
                <a:off x="7733567" y="2150316"/>
                <a:ext cx="670445" cy="750409"/>
              </a:xfrm>
              <a:custGeom>
                <a:avLst/>
                <a:gdLst>
                  <a:gd name="connsiteX0" fmla="*/ 0 w 731934"/>
                  <a:gd name="connsiteY0" fmla="*/ 318391 h 636782"/>
                  <a:gd name="connsiteX1" fmla="*/ 159196 w 731934"/>
                  <a:gd name="connsiteY1" fmla="*/ 0 h 636782"/>
                  <a:gd name="connsiteX2" fmla="*/ 572739 w 731934"/>
                  <a:gd name="connsiteY2" fmla="*/ 0 h 636782"/>
                  <a:gd name="connsiteX3" fmla="*/ 731934 w 731934"/>
                  <a:gd name="connsiteY3" fmla="*/ 318391 h 636782"/>
                  <a:gd name="connsiteX4" fmla="*/ 572739 w 731934"/>
                  <a:gd name="connsiteY4" fmla="*/ 636782 h 636782"/>
                  <a:gd name="connsiteX5" fmla="*/ 159196 w 731934"/>
                  <a:gd name="connsiteY5" fmla="*/ 636782 h 636782"/>
                  <a:gd name="connsiteX6" fmla="*/ 0 w 731934"/>
                  <a:gd name="connsiteY6" fmla="*/ 318391 h 636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1934" h="636782">
                    <a:moveTo>
                      <a:pt x="365967" y="0"/>
                    </a:moveTo>
                    <a:lnTo>
                      <a:pt x="731934" y="138500"/>
                    </a:lnTo>
                    <a:lnTo>
                      <a:pt x="731934" y="498282"/>
                    </a:lnTo>
                    <a:lnTo>
                      <a:pt x="365967" y="636782"/>
                    </a:lnTo>
                    <a:lnTo>
                      <a:pt x="0" y="498282"/>
                    </a:lnTo>
                    <a:lnTo>
                      <a:pt x="0" y="138500"/>
                    </a:lnTo>
                    <a:lnTo>
                      <a:pt x="365967" y="0"/>
                    </a:lnTo>
                    <a:close/>
                  </a:path>
                </a:pathLst>
              </a:custGeom>
              <a:pattFill prst="pct5">
                <a:fgClr>
                  <a:schemeClr val="accent1">
                    <a:lumMod val="75000"/>
                  </a:schemeClr>
                </a:fgClr>
                <a:bgClr>
                  <a:schemeClr val="accent5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10820" tIns="123872" rIns="110820" bIns="123872" numCol="1" spcCol="1270" anchor="ctr" anchorCtr="0">
                <a:noAutofit/>
              </a:bodyPr>
              <a:lstStyle/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Поперечное сваривание краев рукава без сваривания слоя А с покрытием пачки</a:t>
                </a:r>
              </a:p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6" name="Полилиния 135"/>
              <p:cNvSpPr/>
              <p:nvPr/>
            </p:nvSpPr>
            <p:spPr>
              <a:xfrm>
                <a:off x="6650033" y="2144550"/>
                <a:ext cx="637220" cy="750948"/>
              </a:xfrm>
              <a:custGeom>
                <a:avLst/>
                <a:gdLst>
                  <a:gd name="connsiteX0" fmla="*/ 0 w 731934"/>
                  <a:gd name="connsiteY0" fmla="*/ 318391 h 636782"/>
                  <a:gd name="connsiteX1" fmla="*/ 159196 w 731934"/>
                  <a:gd name="connsiteY1" fmla="*/ 0 h 636782"/>
                  <a:gd name="connsiteX2" fmla="*/ 572739 w 731934"/>
                  <a:gd name="connsiteY2" fmla="*/ 0 h 636782"/>
                  <a:gd name="connsiteX3" fmla="*/ 731934 w 731934"/>
                  <a:gd name="connsiteY3" fmla="*/ 318391 h 636782"/>
                  <a:gd name="connsiteX4" fmla="*/ 572739 w 731934"/>
                  <a:gd name="connsiteY4" fmla="*/ 636782 h 636782"/>
                  <a:gd name="connsiteX5" fmla="*/ 159196 w 731934"/>
                  <a:gd name="connsiteY5" fmla="*/ 636782 h 636782"/>
                  <a:gd name="connsiteX6" fmla="*/ 0 w 731934"/>
                  <a:gd name="connsiteY6" fmla="*/ 318391 h 636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1934" h="636782">
                    <a:moveTo>
                      <a:pt x="365967" y="0"/>
                    </a:moveTo>
                    <a:lnTo>
                      <a:pt x="731934" y="138500"/>
                    </a:lnTo>
                    <a:lnTo>
                      <a:pt x="731934" y="498282"/>
                    </a:lnTo>
                    <a:lnTo>
                      <a:pt x="365967" y="636782"/>
                    </a:lnTo>
                    <a:lnTo>
                      <a:pt x="0" y="498282"/>
                    </a:lnTo>
                    <a:lnTo>
                      <a:pt x="0" y="138500"/>
                    </a:lnTo>
                    <a:lnTo>
                      <a:pt x="365967" y="0"/>
                    </a:lnTo>
                    <a:close/>
                  </a:path>
                </a:pathLst>
              </a:custGeom>
              <a:pattFill prst="pct5">
                <a:fgClr>
                  <a:schemeClr val="accent3"/>
                </a:fgClr>
                <a:bgClr>
                  <a:schemeClr val="tx1">
                    <a:lumMod val="50000"/>
                    <a:lumOff val="50000"/>
                  </a:schemeClr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87345" tIns="100397" rIns="87345" bIns="100397" numCol="1" spcCol="1270" anchor="ctr" anchorCtr="0">
                <a:noAutofit/>
              </a:bodyPr>
              <a:lstStyle/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352116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А и/или В- сополимер этилена, пропилена и бутена</a:t>
                </a:r>
              </a:p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7" name="Полилиния 136"/>
              <p:cNvSpPr/>
              <p:nvPr/>
            </p:nvSpPr>
            <p:spPr>
              <a:xfrm>
                <a:off x="8461496" y="948488"/>
                <a:ext cx="639129" cy="686938"/>
              </a:xfrm>
              <a:custGeom>
                <a:avLst/>
                <a:gdLst>
                  <a:gd name="connsiteX0" fmla="*/ 0 w 731934"/>
                  <a:gd name="connsiteY0" fmla="*/ 318391 h 636782"/>
                  <a:gd name="connsiteX1" fmla="*/ 159196 w 731934"/>
                  <a:gd name="connsiteY1" fmla="*/ 0 h 636782"/>
                  <a:gd name="connsiteX2" fmla="*/ 572739 w 731934"/>
                  <a:gd name="connsiteY2" fmla="*/ 0 h 636782"/>
                  <a:gd name="connsiteX3" fmla="*/ 731934 w 731934"/>
                  <a:gd name="connsiteY3" fmla="*/ 318391 h 636782"/>
                  <a:gd name="connsiteX4" fmla="*/ 572739 w 731934"/>
                  <a:gd name="connsiteY4" fmla="*/ 636782 h 636782"/>
                  <a:gd name="connsiteX5" fmla="*/ 159196 w 731934"/>
                  <a:gd name="connsiteY5" fmla="*/ 636782 h 636782"/>
                  <a:gd name="connsiteX6" fmla="*/ 0 w 731934"/>
                  <a:gd name="connsiteY6" fmla="*/ 318391 h 636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1934" h="636782">
                    <a:moveTo>
                      <a:pt x="365967" y="0"/>
                    </a:moveTo>
                    <a:lnTo>
                      <a:pt x="731934" y="138500"/>
                    </a:lnTo>
                    <a:lnTo>
                      <a:pt x="731934" y="498282"/>
                    </a:lnTo>
                    <a:lnTo>
                      <a:pt x="365967" y="636782"/>
                    </a:lnTo>
                    <a:lnTo>
                      <a:pt x="0" y="498282"/>
                    </a:lnTo>
                    <a:lnTo>
                      <a:pt x="0" y="138500"/>
                    </a:lnTo>
                    <a:lnTo>
                      <a:pt x="365967" y="0"/>
                    </a:lnTo>
                    <a:close/>
                  </a:path>
                </a:pathLst>
              </a:custGeom>
              <a:pattFill prst="pct5">
                <a:fgClr>
                  <a:schemeClr val="accent1">
                    <a:lumMod val="75000"/>
                  </a:schemeClr>
                </a:fgClr>
                <a:bgClr>
                  <a:schemeClr val="accent5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110820" tIns="123872" rIns="110820" bIns="123872" numCol="1" spcCol="1270" anchor="ctr" anchorCtr="0">
                <a:noAutofit/>
              </a:bodyPr>
              <a:lstStyle/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ln w="0"/>
                  <a:solidFill>
                    <a:schemeClr val="bg1"/>
                  </a:solidFill>
                </a:endParaRPr>
              </a:p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ln w="0"/>
                    <a:solidFill>
                      <a:schemeClr val="bg1"/>
                    </a:solidFill>
                  </a:rPr>
                  <a:t>Обеспечение упорядоченных пачек, обернутых в пленку</a:t>
                </a:r>
              </a:p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616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8" name="Полилиния 137"/>
              <p:cNvSpPr/>
              <p:nvPr/>
            </p:nvSpPr>
            <p:spPr>
              <a:xfrm>
                <a:off x="8785779" y="1537827"/>
                <a:ext cx="703913" cy="735729"/>
              </a:xfrm>
              <a:custGeom>
                <a:avLst/>
                <a:gdLst>
                  <a:gd name="connsiteX0" fmla="*/ 0 w 731934"/>
                  <a:gd name="connsiteY0" fmla="*/ 318391 h 636782"/>
                  <a:gd name="connsiteX1" fmla="*/ 159196 w 731934"/>
                  <a:gd name="connsiteY1" fmla="*/ 0 h 636782"/>
                  <a:gd name="connsiteX2" fmla="*/ 572739 w 731934"/>
                  <a:gd name="connsiteY2" fmla="*/ 0 h 636782"/>
                  <a:gd name="connsiteX3" fmla="*/ 731934 w 731934"/>
                  <a:gd name="connsiteY3" fmla="*/ 318391 h 636782"/>
                  <a:gd name="connsiteX4" fmla="*/ 572739 w 731934"/>
                  <a:gd name="connsiteY4" fmla="*/ 636782 h 636782"/>
                  <a:gd name="connsiteX5" fmla="*/ 159196 w 731934"/>
                  <a:gd name="connsiteY5" fmla="*/ 636782 h 636782"/>
                  <a:gd name="connsiteX6" fmla="*/ 0 w 731934"/>
                  <a:gd name="connsiteY6" fmla="*/ 318391 h 636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1934" h="636782">
                    <a:moveTo>
                      <a:pt x="365967" y="0"/>
                    </a:moveTo>
                    <a:lnTo>
                      <a:pt x="731934" y="138500"/>
                    </a:lnTo>
                    <a:lnTo>
                      <a:pt x="731934" y="498282"/>
                    </a:lnTo>
                    <a:lnTo>
                      <a:pt x="365967" y="636782"/>
                    </a:lnTo>
                    <a:lnTo>
                      <a:pt x="0" y="498282"/>
                    </a:lnTo>
                    <a:lnTo>
                      <a:pt x="0" y="138500"/>
                    </a:lnTo>
                    <a:lnTo>
                      <a:pt x="365967" y="0"/>
                    </a:lnTo>
                    <a:close/>
                  </a:path>
                </a:pathLst>
              </a:custGeom>
              <a:pattFill prst="pct5">
                <a:fgClr>
                  <a:schemeClr val="accent1">
                    <a:lumMod val="75000"/>
                  </a:schemeClr>
                </a:fgClr>
                <a:bgClr>
                  <a:schemeClr val="accent5"/>
                </a:bgClr>
              </a:pattFill>
              <a:ln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87345" tIns="100397" rIns="87345" bIns="100397" numCol="1" spcCol="1270" anchor="ctr" anchorCtr="0">
                <a:noAutofit/>
              </a:bodyPr>
              <a:lstStyle/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488" b="1" dirty="0">
                    <a:solidFill>
                      <a:schemeClr val="bg1"/>
                    </a:solidFill>
                  </a:rPr>
                  <a:t>Обертывание пленки вокруг пачек с формированием рукава</a:t>
                </a:r>
              </a:p>
              <a:p>
                <a:pPr algn="ctr" defTabSz="273869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ru-RU" sz="488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32" name="Полилиния 131"/>
              <p:cNvSpPr/>
              <p:nvPr/>
            </p:nvSpPr>
            <p:spPr>
              <a:xfrm>
                <a:off x="6718660" y="730259"/>
                <a:ext cx="939486" cy="987782"/>
              </a:xfrm>
              <a:custGeom>
                <a:avLst/>
                <a:gdLst>
                  <a:gd name="connsiteX0" fmla="*/ 0 w 731934"/>
                  <a:gd name="connsiteY0" fmla="*/ 318391 h 636782"/>
                  <a:gd name="connsiteX1" fmla="*/ 159196 w 731934"/>
                  <a:gd name="connsiteY1" fmla="*/ 0 h 636782"/>
                  <a:gd name="connsiteX2" fmla="*/ 572739 w 731934"/>
                  <a:gd name="connsiteY2" fmla="*/ 0 h 636782"/>
                  <a:gd name="connsiteX3" fmla="*/ 731934 w 731934"/>
                  <a:gd name="connsiteY3" fmla="*/ 318391 h 636782"/>
                  <a:gd name="connsiteX4" fmla="*/ 572739 w 731934"/>
                  <a:gd name="connsiteY4" fmla="*/ 636782 h 636782"/>
                  <a:gd name="connsiteX5" fmla="*/ 159196 w 731934"/>
                  <a:gd name="connsiteY5" fmla="*/ 636782 h 636782"/>
                  <a:gd name="connsiteX6" fmla="*/ 0 w 731934"/>
                  <a:gd name="connsiteY6" fmla="*/ 318391 h 63678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731934" h="636782">
                    <a:moveTo>
                      <a:pt x="365967" y="0"/>
                    </a:moveTo>
                    <a:lnTo>
                      <a:pt x="731934" y="138500"/>
                    </a:lnTo>
                    <a:lnTo>
                      <a:pt x="731934" y="498282"/>
                    </a:lnTo>
                    <a:lnTo>
                      <a:pt x="365967" y="636782"/>
                    </a:lnTo>
                    <a:lnTo>
                      <a:pt x="0" y="498282"/>
                    </a:lnTo>
                    <a:lnTo>
                      <a:pt x="0" y="138500"/>
                    </a:lnTo>
                    <a:lnTo>
                      <a:pt x="365967" y="0"/>
                    </a:lnTo>
                    <a:close/>
                  </a:path>
                </a:pathLst>
              </a:custGeom>
              <a:solidFill>
                <a:schemeClr val="accent5">
                  <a:lumMod val="75000"/>
                </a:schemeClr>
              </a:solidFill>
              <a:ln w="22225">
                <a:solidFill>
                  <a:schemeClr val="accent3">
                    <a:lumMod val="75000"/>
                  </a:schemeClr>
                </a:solidFill>
              </a:ln>
            </p:spPr>
            <p:style>
              <a:lnRef idx="2">
                <a:scrgbClr r="0" g="0" b="0"/>
              </a:lnRef>
              <a:fillRef idx="1">
                <a:scrgbClr r="0" g="0" b="0"/>
              </a:fillRef>
              <a:effectRef idx="0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 spcFirstLastPara="0" vert="horz" wrap="square" lIns="87345" tIns="100397" rIns="87345" bIns="100397" numCol="1" spcCol="1270" anchor="ctr" anchorCtr="0">
                <a:noAutofit/>
              </a:bodyPr>
              <a:lstStyle/>
              <a:p>
                <a:pPr algn="ctr" defTabSz="312992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ru-RU" sz="1138" b="1" dirty="0">
                    <a:ln w="0"/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</a:rPr>
                  <a:t>УПАКОВКА</a:t>
                </a:r>
                <a:endParaRPr lang="ru-RU" sz="813" b="1" dirty="0">
                  <a:ln w="0"/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endParaRPr>
              </a:p>
            </p:txBody>
          </p:sp>
        </p:grpSp>
        <p:sp>
          <p:nvSpPr>
            <p:cNvPr id="65" name="Полилиния 64"/>
            <p:cNvSpPr/>
            <p:nvPr/>
          </p:nvSpPr>
          <p:spPr>
            <a:xfrm>
              <a:off x="8733057" y="2767055"/>
              <a:ext cx="747958" cy="822665"/>
            </a:xfrm>
            <a:custGeom>
              <a:avLst/>
              <a:gdLst>
                <a:gd name="connsiteX0" fmla="*/ 0 w 731934"/>
                <a:gd name="connsiteY0" fmla="*/ 318391 h 636782"/>
                <a:gd name="connsiteX1" fmla="*/ 159196 w 731934"/>
                <a:gd name="connsiteY1" fmla="*/ 0 h 636782"/>
                <a:gd name="connsiteX2" fmla="*/ 572739 w 731934"/>
                <a:gd name="connsiteY2" fmla="*/ 0 h 636782"/>
                <a:gd name="connsiteX3" fmla="*/ 731934 w 731934"/>
                <a:gd name="connsiteY3" fmla="*/ 318391 h 636782"/>
                <a:gd name="connsiteX4" fmla="*/ 572739 w 731934"/>
                <a:gd name="connsiteY4" fmla="*/ 636782 h 636782"/>
                <a:gd name="connsiteX5" fmla="*/ 159196 w 731934"/>
                <a:gd name="connsiteY5" fmla="*/ 636782 h 636782"/>
                <a:gd name="connsiteX6" fmla="*/ 0 w 731934"/>
                <a:gd name="connsiteY6" fmla="*/ 318391 h 6367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731934" h="636782">
                  <a:moveTo>
                    <a:pt x="365967" y="0"/>
                  </a:moveTo>
                  <a:lnTo>
                    <a:pt x="731934" y="138500"/>
                  </a:lnTo>
                  <a:lnTo>
                    <a:pt x="731934" y="498282"/>
                  </a:lnTo>
                  <a:lnTo>
                    <a:pt x="365967" y="636782"/>
                  </a:lnTo>
                  <a:lnTo>
                    <a:pt x="0" y="498282"/>
                  </a:lnTo>
                  <a:lnTo>
                    <a:pt x="0" y="138500"/>
                  </a:lnTo>
                  <a:lnTo>
                    <a:pt x="365967" y="0"/>
                  </a:lnTo>
                  <a:close/>
                </a:path>
              </a:pathLst>
            </a:custGeom>
            <a:pattFill prst="pct5">
              <a:fgClr>
                <a:schemeClr val="accent1">
                  <a:lumMod val="75000"/>
                </a:schemeClr>
              </a:fgClr>
              <a:bgClr>
                <a:schemeClr val="accent5"/>
              </a:bgClr>
            </a:pattFill>
            <a:ln>
              <a:solidFill>
                <a:schemeClr val="accent3">
                  <a:lumMod val="75000"/>
                </a:schemeClr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10820" tIns="123872" rIns="110820" bIns="123872" numCol="1" spcCol="1270" anchor="ctr" anchorCtr="0">
              <a:noAutofit/>
            </a:bodyPr>
            <a:lstStyle/>
            <a:p>
              <a:pPr algn="ctr" defTabSz="27386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488" b="1" dirty="0">
                  <a:solidFill>
                    <a:schemeClr val="bg1"/>
                  </a:solidFill>
                </a:rPr>
                <a:t>З</a:t>
              </a:r>
            </a:p>
            <a:p>
              <a:pPr algn="ctr" defTabSz="27386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488" b="1" dirty="0">
                <a:solidFill>
                  <a:schemeClr val="bg1"/>
                </a:solidFill>
              </a:endParaRPr>
            </a:p>
            <a:p>
              <a:pPr algn="ctr" defTabSz="27386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488" b="1" dirty="0">
                  <a:solidFill>
                    <a:schemeClr val="bg1"/>
                  </a:solidFill>
                </a:rPr>
                <a:t>Конвертное сваривание краев рукава без сваривания слоя А с покрытием пачки</a:t>
              </a:r>
            </a:p>
            <a:p>
              <a:pPr algn="ctr" defTabSz="273869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488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39" name="TextBox 138"/>
          <p:cNvSpPr txBox="1"/>
          <p:nvPr/>
        </p:nvSpPr>
        <p:spPr>
          <a:xfrm>
            <a:off x="1204617" y="2156733"/>
            <a:ext cx="5463682" cy="39241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95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ризнаки пленки</a:t>
            </a:r>
          </a:p>
        </p:txBody>
      </p:sp>
      <p:sp>
        <p:nvSpPr>
          <p:cNvPr id="142" name="Полилиния 141"/>
          <p:cNvSpPr/>
          <p:nvPr/>
        </p:nvSpPr>
        <p:spPr>
          <a:xfrm>
            <a:off x="220671" y="1781399"/>
            <a:ext cx="1585991" cy="1687883"/>
          </a:xfrm>
          <a:custGeom>
            <a:avLst/>
            <a:gdLst>
              <a:gd name="connsiteX0" fmla="*/ 0 w 774733"/>
              <a:gd name="connsiteY0" fmla="*/ 337009 h 674017"/>
              <a:gd name="connsiteX1" fmla="*/ 168504 w 774733"/>
              <a:gd name="connsiteY1" fmla="*/ 0 h 674017"/>
              <a:gd name="connsiteX2" fmla="*/ 606229 w 774733"/>
              <a:gd name="connsiteY2" fmla="*/ 0 h 674017"/>
              <a:gd name="connsiteX3" fmla="*/ 774733 w 774733"/>
              <a:gd name="connsiteY3" fmla="*/ 337009 h 674017"/>
              <a:gd name="connsiteX4" fmla="*/ 606229 w 774733"/>
              <a:gd name="connsiteY4" fmla="*/ 674017 h 674017"/>
              <a:gd name="connsiteX5" fmla="*/ 168504 w 774733"/>
              <a:gd name="connsiteY5" fmla="*/ 674017 h 674017"/>
              <a:gd name="connsiteX6" fmla="*/ 0 w 774733"/>
              <a:gd name="connsiteY6" fmla="*/ 337009 h 6740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74733" h="674017">
                <a:moveTo>
                  <a:pt x="387366" y="0"/>
                </a:moveTo>
                <a:lnTo>
                  <a:pt x="774733" y="146598"/>
                </a:lnTo>
                <a:lnTo>
                  <a:pt x="774733" y="527419"/>
                </a:lnTo>
                <a:lnTo>
                  <a:pt x="387366" y="674017"/>
                </a:lnTo>
                <a:lnTo>
                  <a:pt x="0" y="527419"/>
                </a:lnTo>
                <a:lnTo>
                  <a:pt x="0" y="146598"/>
                </a:lnTo>
                <a:lnTo>
                  <a:pt x="387366" y="0"/>
                </a:lnTo>
                <a:close/>
              </a:path>
            </a:pathLst>
          </a:custGeom>
          <a:solidFill>
            <a:schemeClr val="tx1">
              <a:lumMod val="50000"/>
              <a:lumOff val="5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80000"/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32695" tIns="146510" rIns="132695" bIns="146510" numCol="1" spcCol="1270" anchor="ctr" anchorCtr="0">
            <a:noAutofit/>
          </a:bodyPr>
          <a:lstStyle/>
          <a:p>
            <a:pPr algn="ctr" defTabSz="469489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25" b="1" dirty="0">
                <a:ln w="0"/>
                <a:solidFill>
                  <a:schemeClr val="bg1"/>
                </a:solidFill>
              </a:rPr>
              <a:t>ПЛЕНКА</a:t>
            </a:r>
          </a:p>
        </p:txBody>
      </p:sp>
    </p:spTree>
    <p:extLst>
      <p:ext uri="{BB962C8B-B14F-4D97-AF65-F5344CB8AC3E}">
        <p14:creationId xmlns:p14="http://schemas.microsoft.com/office/powerpoint/2010/main" val="30733084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929978" y="644228"/>
          <a:ext cx="1290" cy="12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29978" y="644228"/>
                        <a:ext cx="1290" cy="12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8" name="Группа 47"/>
          <p:cNvGrpSpPr/>
          <p:nvPr/>
        </p:nvGrpSpPr>
        <p:grpSpPr>
          <a:xfrm>
            <a:off x="567531" y="1674812"/>
            <a:ext cx="8114990" cy="2777101"/>
            <a:chOff x="196041" y="587960"/>
            <a:chExt cx="9254906" cy="2855734"/>
          </a:xfrm>
        </p:grpSpPr>
        <p:grpSp>
          <p:nvGrpSpPr>
            <p:cNvPr id="49" name="Группа 48"/>
            <p:cNvGrpSpPr/>
            <p:nvPr/>
          </p:nvGrpSpPr>
          <p:grpSpPr>
            <a:xfrm>
              <a:off x="196041" y="1570142"/>
              <a:ext cx="1863189" cy="1857561"/>
              <a:chOff x="226161" y="1958558"/>
              <a:chExt cx="1863189" cy="1857561"/>
            </a:xfrm>
          </p:grpSpPr>
          <p:sp>
            <p:nvSpPr>
              <p:cNvPr id="85" name="Скругленный прямоугольник 84"/>
              <p:cNvSpPr/>
              <p:nvPr/>
            </p:nvSpPr>
            <p:spPr bwMode="auto">
              <a:xfrm>
                <a:off x="226161" y="1958558"/>
                <a:ext cx="1863189" cy="775145"/>
              </a:xfrm>
              <a:prstGeom prst="roundRect">
                <a:avLst/>
              </a:prstGeom>
              <a:solidFill>
                <a:srgbClr val="599FA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138" b="1" kern="0" dirty="0">
                    <a:solidFill>
                      <a:schemeClr val="bg1"/>
                    </a:solidFill>
                    <a:latin typeface="Arial" charset="0"/>
                  </a:rPr>
                  <a:t>EA017241</a:t>
                </a:r>
                <a:endParaRPr lang="ru-RU" sz="1138" b="1" kern="0" dirty="0">
                  <a:solidFill>
                    <a:schemeClr val="bg1"/>
                  </a:solidFill>
                  <a:latin typeface="Arial" charset="0"/>
                </a:endParaRPr>
              </a:p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ru-RU" sz="1138" b="1" kern="0" dirty="0">
                    <a:solidFill>
                      <a:schemeClr val="bg1"/>
                    </a:solidFill>
                    <a:latin typeface="Arial"/>
                  </a:rPr>
                  <a:t>04.08.2008</a:t>
                </a:r>
              </a:p>
            </p:txBody>
          </p:sp>
          <p:sp>
            <p:nvSpPr>
              <p:cNvPr id="86" name="Скругленный прямоугольник 85"/>
              <p:cNvSpPr/>
              <p:nvPr/>
            </p:nvSpPr>
            <p:spPr bwMode="auto">
              <a:xfrm>
                <a:off x="388507" y="3238149"/>
                <a:ext cx="301925" cy="577970"/>
              </a:xfrm>
              <a:prstGeom prst="roundRect">
                <a:avLst/>
              </a:prstGeom>
              <a:solidFill>
                <a:srgbClr val="F58A1F">
                  <a:lumMod val="20000"/>
                  <a:lumOff val="80000"/>
                </a:srgbClr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138" b="1" kern="0" dirty="0">
                    <a:solidFill>
                      <a:prstClr val="black"/>
                    </a:solidFill>
                    <a:latin typeface="Arial" charset="0"/>
                  </a:rPr>
                  <a:t>RU</a:t>
                </a:r>
                <a:endParaRPr lang="ru-RU" sz="1138" b="1" kern="0" dirty="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87" name="Скругленный прямоугольник 86"/>
              <p:cNvSpPr/>
              <p:nvPr/>
            </p:nvSpPr>
            <p:spPr bwMode="auto">
              <a:xfrm>
                <a:off x="1013411" y="3238149"/>
                <a:ext cx="301925" cy="577970"/>
              </a:xfrm>
              <a:prstGeom prst="roundRect">
                <a:avLst/>
              </a:prstGeom>
              <a:solidFill>
                <a:srgbClr val="B2D2D8">
                  <a:lumMod val="20000"/>
                  <a:lumOff val="80000"/>
                </a:srgbClr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138" b="1" kern="0" dirty="0">
                    <a:solidFill>
                      <a:prstClr val="black"/>
                    </a:solidFill>
                    <a:latin typeface="Arial" charset="0"/>
                  </a:rPr>
                  <a:t>BY</a:t>
                </a:r>
                <a:endParaRPr lang="ru-RU" sz="1138" b="1" kern="0" dirty="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88" name="Скругленный прямоугольник 87"/>
              <p:cNvSpPr/>
              <p:nvPr/>
            </p:nvSpPr>
            <p:spPr bwMode="auto">
              <a:xfrm>
                <a:off x="1612947" y="3238149"/>
                <a:ext cx="301925" cy="577970"/>
              </a:xfrm>
              <a:prstGeom prst="roundRect">
                <a:avLst/>
              </a:prstGeom>
              <a:solidFill>
                <a:srgbClr val="FFC000">
                  <a:lumMod val="20000"/>
                  <a:lumOff val="80000"/>
                </a:srgbClr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138" b="1" kern="0" dirty="0">
                    <a:solidFill>
                      <a:prstClr val="black"/>
                    </a:solidFill>
                    <a:latin typeface="Arial" charset="0"/>
                  </a:rPr>
                  <a:t>KZ</a:t>
                </a:r>
                <a:endParaRPr lang="ru-RU" sz="1138" b="1" kern="0" dirty="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cxnSp>
            <p:nvCxnSpPr>
              <p:cNvPr id="89" name="Соединительная линия уступом 88"/>
              <p:cNvCxnSpPr>
                <a:stCxn id="85" idx="2"/>
                <a:endCxn id="86" idx="0"/>
              </p:cNvCxnSpPr>
              <p:nvPr/>
            </p:nvCxnSpPr>
            <p:spPr bwMode="auto">
              <a:xfrm rot="5400000">
                <a:off x="596390" y="2676783"/>
                <a:ext cx="504446" cy="618286"/>
              </a:xfrm>
              <a:prstGeom prst="bentConnector3">
                <a:avLst>
                  <a:gd name="adj1" fmla="val 50000"/>
                </a:avLst>
              </a:prstGeom>
              <a:solidFill>
                <a:srgbClr val="008C95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0" name="Соединительная линия уступом 89"/>
              <p:cNvCxnSpPr>
                <a:endCxn id="88" idx="0"/>
              </p:cNvCxnSpPr>
              <p:nvPr/>
            </p:nvCxnSpPr>
            <p:spPr bwMode="auto">
              <a:xfrm>
                <a:off x="1178734" y="2985926"/>
                <a:ext cx="585176" cy="252223"/>
              </a:xfrm>
              <a:prstGeom prst="bentConnector2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92" name="Прямая со стрелкой 91"/>
              <p:cNvCxnSpPr>
                <a:endCxn id="87" idx="0"/>
              </p:cNvCxnSpPr>
              <p:nvPr/>
            </p:nvCxnSpPr>
            <p:spPr bwMode="auto">
              <a:xfrm>
                <a:off x="1162686" y="2884464"/>
                <a:ext cx="1688" cy="353685"/>
              </a:xfrm>
              <a:prstGeom prst="straightConnector1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grpSp>
          <p:nvGrpSpPr>
            <p:cNvPr id="51" name="Группа 50"/>
            <p:cNvGrpSpPr/>
            <p:nvPr/>
          </p:nvGrpSpPr>
          <p:grpSpPr>
            <a:xfrm>
              <a:off x="1164375" y="587960"/>
              <a:ext cx="8286572" cy="2855734"/>
              <a:chOff x="1164375" y="587960"/>
              <a:chExt cx="8286572" cy="2855734"/>
            </a:xfrm>
          </p:grpSpPr>
          <p:sp>
            <p:nvSpPr>
              <p:cNvPr id="53" name="Скругленный прямоугольник 52"/>
              <p:cNvSpPr/>
              <p:nvPr/>
            </p:nvSpPr>
            <p:spPr bwMode="auto">
              <a:xfrm>
                <a:off x="3334809" y="587960"/>
                <a:ext cx="2941607" cy="414068"/>
              </a:xfrm>
              <a:prstGeom prst="roundRect">
                <a:avLst/>
              </a:prstGeom>
              <a:solidFill>
                <a:srgbClr val="599FA1"/>
              </a:soli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74295" tIns="37148" rIns="74295" bIns="37148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 defTabSz="742950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n-US" sz="1463" b="1" kern="0" dirty="0">
                    <a:solidFill>
                      <a:prstClr val="white"/>
                    </a:solidFill>
                    <a:latin typeface="Arial" charset="0"/>
                  </a:rPr>
                  <a:t>INNOVIA FILMS</a:t>
                </a:r>
                <a:endParaRPr lang="ru-RU" sz="1463" b="1" kern="0" dirty="0">
                  <a:solidFill>
                    <a:prstClr val="white"/>
                  </a:solidFill>
                  <a:latin typeface="Arial" charset="0"/>
                </a:endParaRPr>
              </a:p>
            </p:txBody>
          </p:sp>
          <p:cxnSp>
            <p:nvCxnSpPr>
              <p:cNvPr id="55" name="Соединительная линия уступом 54"/>
              <p:cNvCxnSpPr/>
              <p:nvPr/>
            </p:nvCxnSpPr>
            <p:spPr bwMode="auto">
              <a:xfrm rot="10800000" flipV="1">
                <a:off x="1164375" y="1312217"/>
                <a:ext cx="4108997" cy="257925"/>
              </a:xfrm>
              <a:prstGeom prst="bentConnector2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7" name="Соединительная линия уступом 56"/>
              <p:cNvCxnSpPr/>
              <p:nvPr/>
            </p:nvCxnSpPr>
            <p:spPr bwMode="auto">
              <a:xfrm>
                <a:off x="5286774" y="1307868"/>
                <a:ext cx="3275999" cy="246057"/>
              </a:xfrm>
              <a:prstGeom prst="bentConnector2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8" name="Прямая со стрелкой 57"/>
              <p:cNvCxnSpPr/>
              <p:nvPr/>
            </p:nvCxnSpPr>
            <p:spPr bwMode="auto">
              <a:xfrm>
                <a:off x="3412062" y="1319134"/>
                <a:ext cx="1242" cy="256041"/>
              </a:xfrm>
              <a:prstGeom prst="straightConnector1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59" name="Прямая со стрелкой 58"/>
              <p:cNvCxnSpPr/>
              <p:nvPr/>
            </p:nvCxnSpPr>
            <p:spPr bwMode="auto">
              <a:xfrm flipH="1">
                <a:off x="5739633" y="1307868"/>
                <a:ext cx="8474" cy="269500"/>
              </a:xfrm>
              <a:prstGeom prst="straightConnector1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triangl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cxnSp>
            <p:nvCxnSpPr>
              <p:cNvPr id="60" name="Прямая со стрелкой 59"/>
              <p:cNvCxnSpPr>
                <a:stCxn id="53" idx="2"/>
              </p:cNvCxnSpPr>
              <p:nvPr/>
            </p:nvCxnSpPr>
            <p:spPr bwMode="auto">
              <a:xfrm>
                <a:off x="4805613" y="1002028"/>
                <a:ext cx="8064" cy="310187"/>
              </a:xfrm>
              <a:prstGeom prst="straightConnector1">
                <a:avLst/>
              </a:prstGeom>
              <a:solidFill>
                <a:srgbClr val="008C95"/>
              </a:solidFill>
              <a:ln w="9525" cap="flat" cmpd="sng" algn="ctr">
                <a:solidFill>
                  <a:sysClr val="windowText" lastClr="000000"/>
                </a:solidFill>
                <a:prstDash val="solid"/>
                <a:round/>
                <a:headEnd type="none" w="med" len="med"/>
                <a:tailEnd type="none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  <p:grpSp>
            <p:nvGrpSpPr>
              <p:cNvPr id="61" name="Группа 60"/>
              <p:cNvGrpSpPr/>
              <p:nvPr/>
            </p:nvGrpSpPr>
            <p:grpSpPr>
              <a:xfrm>
                <a:off x="2448840" y="1570142"/>
                <a:ext cx="1863189" cy="1857561"/>
                <a:chOff x="226161" y="1958558"/>
                <a:chExt cx="1863189" cy="1857561"/>
              </a:xfrm>
            </p:grpSpPr>
            <p:sp>
              <p:nvSpPr>
                <p:cNvPr id="78" name="Скругленный прямоугольник 77"/>
                <p:cNvSpPr/>
                <p:nvPr/>
              </p:nvSpPr>
              <p:spPr bwMode="auto">
                <a:xfrm>
                  <a:off x="226161" y="1958558"/>
                  <a:ext cx="1863189" cy="775145"/>
                </a:xfrm>
                <a:prstGeom prst="roundRect">
                  <a:avLst/>
                </a:prstGeom>
                <a:solidFill>
                  <a:srgbClr val="599FA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4295" tIns="37148" rIns="74295" bIns="3714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138" b="1" kern="0" dirty="0">
                      <a:solidFill>
                        <a:schemeClr val="bg1"/>
                      </a:solidFill>
                      <a:latin typeface="Arial" charset="0"/>
                    </a:rPr>
                    <a:t>EA025398</a:t>
                  </a:r>
                  <a:endParaRPr lang="ru-RU" sz="1138" b="1" kern="0" dirty="0">
                    <a:solidFill>
                      <a:schemeClr val="bg1"/>
                    </a:solidFill>
                    <a:latin typeface="Arial" charset="0"/>
                  </a:endParaRPr>
                </a:p>
                <a:p>
                  <a:pPr algn="ctr"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ru-RU" sz="1138" b="1" kern="0" dirty="0">
                      <a:solidFill>
                        <a:schemeClr val="bg1"/>
                      </a:solidFill>
                      <a:latin typeface="Arial"/>
                    </a:rPr>
                    <a:t>04.08.2008</a:t>
                  </a:r>
                </a:p>
              </p:txBody>
            </p:sp>
            <p:sp>
              <p:nvSpPr>
                <p:cNvPr id="79" name="Скругленный прямоугольник 78"/>
                <p:cNvSpPr/>
                <p:nvPr/>
              </p:nvSpPr>
              <p:spPr bwMode="auto">
                <a:xfrm>
                  <a:off x="388507" y="3238149"/>
                  <a:ext cx="301925" cy="577970"/>
                </a:xfrm>
                <a:prstGeom prst="roundRect">
                  <a:avLst/>
                </a:prstGeom>
                <a:solidFill>
                  <a:srgbClr val="F58A1F">
                    <a:lumMod val="20000"/>
                    <a:lumOff val="80000"/>
                  </a:srgbClr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4295" tIns="37148" rIns="74295" bIns="3714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138" b="1" kern="0" dirty="0">
                      <a:solidFill>
                        <a:prstClr val="black"/>
                      </a:solidFill>
                      <a:latin typeface="Arial" charset="0"/>
                    </a:rPr>
                    <a:t>RU</a:t>
                  </a:r>
                  <a:endParaRPr lang="ru-RU" sz="1138" b="1" kern="0" dirty="0">
                    <a:solidFill>
                      <a:prstClr val="black"/>
                    </a:solidFill>
                    <a:latin typeface="Arial" charset="0"/>
                  </a:endParaRPr>
                </a:p>
              </p:txBody>
            </p:sp>
            <p:sp>
              <p:nvSpPr>
                <p:cNvPr id="80" name="Скругленный прямоугольник 79"/>
                <p:cNvSpPr/>
                <p:nvPr/>
              </p:nvSpPr>
              <p:spPr bwMode="auto">
                <a:xfrm>
                  <a:off x="1013411" y="3238149"/>
                  <a:ext cx="301925" cy="577970"/>
                </a:xfrm>
                <a:prstGeom prst="roundRect">
                  <a:avLst/>
                </a:prstGeom>
                <a:solidFill>
                  <a:srgbClr val="B2D2D8">
                    <a:lumMod val="20000"/>
                    <a:lumOff val="80000"/>
                  </a:srgbClr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4295" tIns="37148" rIns="74295" bIns="3714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138" b="1" kern="0" dirty="0">
                      <a:solidFill>
                        <a:prstClr val="black"/>
                      </a:solidFill>
                      <a:latin typeface="Arial" charset="0"/>
                    </a:rPr>
                    <a:t>BY</a:t>
                  </a:r>
                  <a:endParaRPr lang="ru-RU" sz="1138" b="1" kern="0" dirty="0">
                    <a:solidFill>
                      <a:prstClr val="black"/>
                    </a:solidFill>
                    <a:latin typeface="Arial" charset="0"/>
                  </a:endParaRPr>
                </a:p>
              </p:txBody>
            </p:sp>
            <p:sp>
              <p:nvSpPr>
                <p:cNvPr id="81" name="Скругленный прямоугольник 80"/>
                <p:cNvSpPr/>
                <p:nvPr/>
              </p:nvSpPr>
              <p:spPr bwMode="auto">
                <a:xfrm>
                  <a:off x="1612947" y="3238149"/>
                  <a:ext cx="301925" cy="577970"/>
                </a:xfrm>
                <a:prstGeom prst="roundRect">
                  <a:avLst/>
                </a:prstGeom>
                <a:solidFill>
                  <a:srgbClr val="FFC000">
                    <a:lumMod val="20000"/>
                    <a:lumOff val="80000"/>
                  </a:srgbClr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4295" tIns="37148" rIns="74295" bIns="3714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138" b="1" kern="0" dirty="0">
                      <a:solidFill>
                        <a:prstClr val="black"/>
                      </a:solidFill>
                      <a:latin typeface="Arial" charset="0"/>
                    </a:rPr>
                    <a:t>KZ</a:t>
                  </a:r>
                  <a:endParaRPr lang="ru-RU" sz="1138" b="1" kern="0" dirty="0">
                    <a:solidFill>
                      <a:prstClr val="black"/>
                    </a:solidFill>
                    <a:latin typeface="Arial" charset="0"/>
                  </a:endParaRPr>
                </a:p>
              </p:txBody>
            </p:sp>
            <p:cxnSp>
              <p:nvCxnSpPr>
                <p:cNvPr id="82" name="Соединительная линия уступом 81"/>
                <p:cNvCxnSpPr>
                  <a:stCxn id="78" idx="2"/>
                  <a:endCxn id="79" idx="0"/>
                </p:cNvCxnSpPr>
                <p:nvPr/>
              </p:nvCxnSpPr>
              <p:spPr bwMode="auto">
                <a:xfrm rot="5400000">
                  <a:off x="596390" y="2676783"/>
                  <a:ext cx="504446" cy="618286"/>
                </a:xfrm>
                <a:prstGeom prst="bentConnector3">
                  <a:avLst>
                    <a:gd name="adj1" fmla="val 50000"/>
                  </a:avLst>
                </a:prstGeom>
                <a:solidFill>
                  <a:srgbClr val="008C95"/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83" name="Соединительная линия уступом 82"/>
                <p:cNvCxnSpPr>
                  <a:endCxn id="81" idx="0"/>
                </p:cNvCxnSpPr>
                <p:nvPr/>
              </p:nvCxnSpPr>
              <p:spPr bwMode="auto">
                <a:xfrm>
                  <a:off x="1178734" y="2985926"/>
                  <a:ext cx="585176" cy="252223"/>
                </a:xfrm>
                <a:prstGeom prst="bentConnector2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84" name="Прямая со стрелкой 83"/>
                <p:cNvCxnSpPr>
                  <a:endCxn id="80" idx="0"/>
                </p:cNvCxnSpPr>
                <p:nvPr/>
              </p:nvCxnSpPr>
              <p:spPr bwMode="auto">
                <a:xfrm>
                  <a:off x="1162686" y="2884464"/>
                  <a:ext cx="1688" cy="353685"/>
                </a:xfrm>
                <a:prstGeom prst="straightConnector1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62" name="Группа 61"/>
              <p:cNvGrpSpPr/>
              <p:nvPr/>
            </p:nvGrpSpPr>
            <p:grpSpPr>
              <a:xfrm>
                <a:off x="4813677" y="1586133"/>
                <a:ext cx="1863189" cy="1857561"/>
                <a:chOff x="226161" y="1958558"/>
                <a:chExt cx="1863189" cy="1857561"/>
              </a:xfrm>
            </p:grpSpPr>
            <p:sp>
              <p:nvSpPr>
                <p:cNvPr id="71" name="Скругленный прямоугольник 70"/>
                <p:cNvSpPr/>
                <p:nvPr/>
              </p:nvSpPr>
              <p:spPr bwMode="auto">
                <a:xfrm>
                  <a:off x="226161" y="1958558"/>
                  <a:ext cx="1863189" cy="775145"/>
                </a:xfrm>
                <a:prstGeom prst="roundRect">
                  <a:avLst/>
                </a:prstGeom>
                <a:solidFill>
                  <a:srgbClr val="599FA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4295" tIns="37148" rIns="74295" bIns="3714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138" b="1" kern="0" dirty="0">
                      <a:solidFill>
                        <a:schemeClr val="bg1"/>
                      </a:solidFill>
                      <a:latin typeface="Arial" charset="0"/>
                    </a:rPr>
                    <a:t>EA029138</a:t>
                  </a:r>
                  <a:endParaRPr lang="ru-RU" sz="1138" b="1" kern="0" dirty="0">
                    <a:solidFill>
                      <a:schemeClr val="bg1"/>
                    </a:solidFill>
                    <a:latin typeface="Arial" charset="0"/>
                  </a:endParaRPr>
                </a:p>
                <a:p>
                  <a:pPr algn="ctr"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ru-RU" sz="1138" b="1" kern="0" dirty="0">
                      <a:solidFill>
                        <a:schemeClr val="bg1"/>
                      </a:solidFill>
                      <a:latin typeface="Arial" charset="0"/>
                    </a:rPr>
                    <a:t>01.06.2012</a:t>
                  </a:r>
                  <a:endParaRPr lang="ru-RU" sz="1138" b="1" kern="0" dirty="0">
                    <a:solidFill>
                      <a:schemeClr val="bg1"/>
                    </a:solidFill>
                    <a:latin typeface="Arial"/>
                  </a:endParaRPr>
                </a:p>
              </p:txBody>
            </p:sp>
            <p:sp>
              <p:nvSpPr>
                <p:cNvPr id="72" name="Скругленный прямоугольник 71"/>
                <p:cNvSpPr/>
                <p:nvPr/>
              </p:nvSpPr>
              <p:spPr bwMode="auto">
                <a:xfrm>
                  <a:off x="388507" y="3238149"/>
                  <a:ext cx="301925" cy="577970"/>
                </a:xfrm>
                <a:prstGeom prst="roundRect">
                  <a:avLst/>
                </a:prstGeom>
                <a:solidFill>
                  <a:srgbClr val="F58A1F">
                    <a:lumMod val="20000"/>
                    <a:lumOff val="80000"/>
                  </a:srgbClr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4295" tIns="37148" rIns="74295" bIns="3714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138" b="1" kern="0" dirty="0">
                      <a:solidFill>
                        <a:prstClr val="black"/>
                      </a:solidFill>
                      <a:latin typeface="Arial" charset="0"/>
                    </a:rPr>
                    <a:t>RU</a:t>
                  </a:r>
                  <a:endParaRPr lang="ru-RU" sz="1138" b="1" kern="0" dirty="0">
                    <a:solidFill>
                      <a:prstClr val="black"/>
                    </a:solidFill>
                    <a:latin typeface="Arial" charset="0"/>
                  </a:endParaRPr>
                </a:p>
              </p:txBody>
            </p:sp>
            <p:sp>
              <p:nvSpPr>
                <p:cNvPr id="73" name="Скругленный прямоугольник 72"/>
                <p:cNvSpPr/>
                <p:nvPr/>
              </p:nvSpPr>
              <p:spPr bwMode="auto">
                <a:xfrm>
                  <a:off x="1013411" y="3238149"/>
                  <a:ext cx="301925" cy="577970"/>
                </a:xfrm>
                <a:prstGeom prst="roundRect">
                  <a:avLst/>
                </a:prstGeom>
                <a:solidFill>
                  <a:srgbClr val="B2D2D8">
                    <a:lumMod val="20000"/>
                    <a:lumOff val="80000"/>
                  </a:srgbClr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4295" tIns="37148" rIns="74295" bIns="3714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138" b="1" kern="0" dirty="0">
                      <a:solidFill>
                        <a:prstClr val="black"/>
                      </a:solidFill>
                      <a:latin typeface="Arial" charset="0"/>
                    </a:rPr>
                    <a:t>BY</a:t>
                  </a:r>
                  <a:endParaRPr lang="ru-RU" sz="1138" b="1" kern="0" dirty="0">
                    <a:solidFill>
                      <a:prstClr val="black"/>
                    </a:solidFill>
                    <a:latin typeface="Arial" charset="0"/>
                  </a:endParaRPr>
                </a:p>
              </p:txBody>
            </p:sp>
            <p:sp>
              <p:nvSpPr>
                <p:cNvPr id="74" name="Скругленный прямоугольник 73"/>
                <p:cNvSpPr/>
                <p:nvPr/>
              </p:nvSpPr>
              <p:spPr bwMode="auto">
                <a:xfrm>
                  <a:off x="1612947" y="3238149"/>
                  <a:ext cx="301925" cy="577970"/>
                </a:xfrm>
                <a:prstGeom prst="roundRect">
                  <a:avLst/>
                </a:prstGeom>
                <a:solidFill>
                  <a:srgbClr val="FFC000">
                    <a:lumMod val="20000"/>
                    <a:lumOff val="80000"/>
                  </a:srgbClr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4295" tIns="37148" rIns="74295" bIns="3714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138" b="1" kern="0" dirty="0">
                      <a:solidFill>
                        <a:prstClr val="black"/>
                      </a:solidFill>
                      <a:latin typeface="Arial" charset="0"/>
                    </a:rPr>
                    <a:t>KZ</a:t>
                  </a:r>
                  <a:endParaRPr lang="ru-RU" sz="1138" b="1" kern="0" dirty="0">
                    <a:solidFill>
                      <a:prstClr val="black"/>
                    </a:solidFill>
                    <a:latin typeface="Arial" charset="0"/>
                  </a:endParaRPr>
                </a:p>
              </p:txBody>
            </p:sp>
            <p:cxnSp>
              <p:nvCxnSpPr>
                <p:cNvPr id="75" name="Соединительная линия уступом 74"/>
                <p:cNvCxnSpPr>
                  <a:stCxn id="71" idx="2"/>
                  <a:endCxn id="72" idx="0"/>
                </p:cNvCxnSpPr>
                <p:nvPr/>
              </p:nvCxnSpPr>
              <p:spPr bwMode="auto">
                <a:xfrm rot="5400000">
                  <a:off x="596390" y="2676783"/>
                  <a:ext cx="504446" cy="618286"/>
                </a:xfrm>
                <a:prstGeom prst="bentConnector3">
                  <a:avLst>
                    <a:gd name="adj1" fmla="val 50000"/>
                  </a:avLst>
                </a:prstGeom>
                <a:solidFill>
                  <a:srgbClr val="008C95"/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76" name="Соединительная линия уступом 75"/>
                <p:cNvCxnSpPr>
                  <a:endCxn id="74" idx="0"/>
                </p:cNvCxnSpPr>
                <p:nvPr/>
              </p:nvCxnSpPr>
              <p:spPr bwMode="auto">
                <a:xfrm>
                  <a:off x="1178734" y="2985926"/>
                  <a:ext cx="585176" cy="252223"/>
                </a:xfrm>
                <a:prstGeom prst="bentConnector2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77" name="Прямая со стрелкой 76"/>
                <p:cNvCxnSpPr>
                  <a:endCxn id="73" idx="0"/>
                </p:cNvCxnSpPr>
                <p:nvPr/>
              </p:nvCxnSpPr>
              <p:spPr bwMode="auto">
                <a:xfrm>
                  <a:off x="1162686" y="2884464"/>
                  <a:ext cx="1688" cy="353685"/>
                </a:xfrm>
                <a:prstGeom prst="straightConnector1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  <p:grpSp>
            <p:nvGrpSpPr>
              <p:cNvPr id="63" name="Группа 62"/>
              <p:cNvGrpSpPr/>
              <p:nvPr/>
            </p:nvGrpSpPr>
            <p:grpSpPr>
              <a:xfrm>
                <a:off x="7587758" y="1553925"/>
                <a:ext cx="1863189" cy="1857561"/>
                <a:chOff x="226161" y="1958558"/>
                <a:chExt cx="1863189" cy="1857561"/>
              </a:xfrm>
            </p:grpSpPr>
            <p:sp>
              <p:nvSpPr>
                <p:cNvPr id="64" name="Скругленный прямоугольник 63"/>
                <p:cNvSpPr/>
                <p:nvPr/>
              </p:nvSpPr>
              <p:spPr bwMode="auto">
                <a:xfrm>
                  <a:off x="226161" y="1958558"/>
                  <a:ext cx="1863189" cy="775145"/>
                </a:xfrm>
                <a:prstGeom prst="roundRect">
                  <a:avLst/>
                </a:prstGeom>
                <a:solidFill>
                  <a:srgbClr val="599FA1"/>
                </a:soli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4295" tIns="37148" rIns="74295" bIns="3714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algn="ctr"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138" b="1" kern="0" dirty="0">
                      <a:solidFill>
                        <a:schemeClr val="bg1"/>
                      </a:solidFill>
                      <a:latin typeface="Arial" charset="0"/>
                    </a:rPr>
                    <a:t>EA029841</a:t>
                  </a:r>
                  <a:endParaRPr lang="ru-RU" sz="1138" b="1" kern="0" dirty="0">
                    <a:solidFill>
                      <a:schemeClr val="bg1"/>
                    </a:solidFill>
                    <a:latin typeface="Arial" charset="0"/>
                  </a:endParaRPr>
                </a:p>
                <a:p>
                  <a:pPr algn="ctr"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ru-RU" sz="1138" b="1" kern="0" dirty="0">
                      <a:solidFill>
                        <a:schemeClr val="bg1"/>
                      </a:solidFill>
                      <a:latin typeface="Arial"/>
                    </a:rPr>
                    <a:t>03.12.2013</a:t>
                  </a:r>
                </a:p>
              </p:txBody>
            </p:sp>
            <p:sp>
              <p:nvSpPr>
                <p:cNvPr id="65" name="Скругленный прямоугольник 64"/>
                <p:cNvSpPr/>
                <p:nvPr/>
              </p:nvSpPr>
              <p:spPr bwMode="auto">
                <a:xfrm>
                  <a:off x="388507" y="3238149"/>
                  <a:ext cx="301925" cy="577970"/>
                </a:xfrm>
                <a:prstGeom prst="roundRect">
                  <a:avLst/>
                </a:prstGeom>
                <a:solidFill>
                  <a:srgbClr val="F58A1F">
                    <a:lumMod val="20000"/>
                    <a:lumOff val="80000"/>
                  </a:srgbClr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4295" tIns="37148" rIns="74295" bIns="3714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138" b="1" kern="0" dirty="0">
                      <a:solidFill>
                        <a:prstClr val="black"/>
                      </a:solidFill>
                      <a:latin typeface="Arial" charset="0"/>
                    </a:rPr>
                    <a:t>RU</a:t>
                  </a:r>
                  <a:endParaRPr lang="ru-RU" sz="1138" b="1" kern="0" dirty="0">
                    <a:solidFill>
                      <a:prstClr val="black"/>
                    </a:solidFill>
                    <a:latin typeface="Arial" charset="0"/>
                  </a:endParaRPr>
                </a:p>
              </p:txBody>
            </p:sp>
            <p:sp>
              <p:nvSpPr>
                <p:cNvPr id="66" name="Скругленный прямоугольник 65"/>
                <p:cNvSpPr/>
                <p:nvPr/>
              </p:nvSpPr>
              <p:spPr bwMode="auto">
                <a:xfrm>
                  <a:off x="1013411" y="3238149"/>
                  <a:ext cx="301925" cy="577970"/>
                </a:xfrm>
                <a:prstGeom prst="roundRect">
                  <a:avLst/>
                </a:prstGeom>
                <a:solidFill>
                  <a:srgbClr val="B2D2D8">
                    <a:lumMod val="20000"/>
                    <a:lumOff val="80000"/>
                  </a:srgbClr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4295" tIns="37148" rIns="74295" bIns="3714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138" b="1" kern="0" dirty="0">
                      <a:solidFill>
                        <a:prstClr val="black"/>
                      </a:solidFill>
                      <a:latin typeface="Arial" charset="0"/>
                    </a:rPr>
                    <a:t>BY</a:t>
                  </a:r>
                  <a:endParaRPr lang="ru-RU" sz="1138" b="1" kern="0" dirty="0">
                    <a:solidFill>
                      <a:prstClr val="black"/>
                    </a:solidFill>
                    <a:latin typeface="Arial" charset="0"/>
                  </a:endParaRPr>
                </a:p>
              </p:txBody>
            </p:sp>
            <p:sp>
              <p:nvSpPr>
                <p:cNvPr id="67" name="Скругленный прямоугольник 66"/>
                <p:cNvSpPr/>
                <p:nvPr/>
              </p:nvSpPr>
              <p:spPr bwMode="auto">
                <a:xfrm>
                  <a:off x="1612947" y="3238149"/>
                  <a:ext cx="301925" cy="577970"/>
                </a:xfrm>
                <a:prstGeom prst="roundRect">
                  <a:avLst/>
                </a:prstGeom>
                <a:solidFill>
                  <a:srgbClr val="FFC000">
                    <a:lumMod val="20000"/>
                    <a:lumOff val="80000"/>
                  </a:srgbClr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vert="horz" wrap="square" lIns="74295" tIns="37148" rIns="74295" bIns="37148" numCol="1" rtlCol="0" anchor="t" anchorCtr="0" compatLnSpc="1">
                  <a:prstTxWarp prst="textNoShape">
                    <a:avLst/>
                  </a:prstTxWarp>
                </a:bodyPr>
                <a:lstStyle/>
                <a:p>
                  <a:pPr defTabSz="742950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r>
                    <a:rPr lang="en-US" sz="1138" b="1" kern="0" dirty="0">
                      <a:solidFill>
                        <a:prstClr val="black"/>
                      </a:solidFill>
                      <a:latin typeface="Arial" charset="0"/>
                    </a:rPr>
                    <a:t>KZ</a:t>
                  </a:r>
                  <a:endParaRPr lang="ru-RU" sz="1138" b="1" kern="0" dirty="0">
                    <a:solidFill>
                      <a:prstClr val="black"/>
                    </a:solidFill>
                    <a:latin typeface="Arial" charset="0"/>
                  </a:endParaRPr>
                </a:p>
              </p:txBody>
            </p:sp>
            <p:cxnSp>
              <p:nvCxnSpPr>
                <p:cNvPr id="68" name="Соединительная линия уступом 67"/>
                <p:cNvCxnSpPr>
                  <a:stCxn id="64" idx="2"/>
                  <a:endCxn id="65" idx="0"/>
                </p:cNvCxnSpPr>
                <p:nvPr/>
              </p:nvCxnSpPr>
              <p:spPr bwMode="auto">
                <a:xfrm rot="5400000">
                  <a:off x="596390" y="2676783"/>
                  <a:ext cx="504446" cy="618286"/>
                </a:xfrm>
                <a:prstGeom prst="bentConnector3">
                  <a:avLst>
                    <a:gd name="adj1" fmla="val 50000"/>
                  </a:avLst>
                </a:prstGeom>
                <a:solidFill>
                  <a:srgbClr val="008C95"/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69" name="Соединительная линия уступом 68"/>
                <p:cNvCxnSpPr>
                  <a:endCxn id="67" idx="0"/>
                </p:cNvCxnSpPr>
                <p:nvPr/>
              </p:nvCxnSpPr>
              <p:spPr bwMode="auto">
                <a:xfrm>
                  <a:off x="1178734" y="2985926"/>
                  <a:ext cx="585176" cy="252223"/>
                </a:xfrm>
                <a:prstGeom prst="bentConnector2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  <p:cxnSp>
              <p:nvCxnSpPr>
                <p:cNvPr id="70" name="Прямая со стрелкой 69"/>
                <p:cNvCxnSpPr>
                  <a:endCxn id="66" idx="0"/>
                </p:cNvCxnSpPr>
                <p:nvPr/>
              </p:nvCxnSpPr>
              <p:spPr bwMode="auto">
                <a:xfrm>
                  <a:off x="1162686" y="2884464"/>
                  <a:ext cx="1688" cy="353685"/>
                </a:xfrm>
                <a:prstGeom prst="straightConnector1">
                  <a:avLst/>
                </a:prstGeom>
                <a:solidFill>
                  <a:srgbClr val="008C95"/>
                </a:solidFill>
                <a:ln w="9525" cap="flat" cmpd="sng" algn="ctr">
                  <a:solidFill>
                    <a:sysClr val="windowText" lastClr="000000"/>
                  </a:solidFill>
                  <a:prstDash val="solid"/>
                  <a:round/>
                  <a:headEnd type="none" w="med" len="med"/>
                  <a:tailEnd type="triangle"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</p:cxnSp>
          </p:grpSp>
        </p:grpSp>
      </p:grpSp>
      <p:cxnSp>
        <p:nvCxnSpPr>
          <p:cNvPr id="93" name="Прямая соединительная линия 92"/>
          <p:cNvCxnSpPr/>
          <p:nvPr/>
        </p:nvCxnSpPr>
        <p:spPr bwMode="auto">
          <a:xfrm flipH="1">
            <a:off x="7770322" y="3925533"/>
            <a:ext cx="340105" cy="561023"/>
          </a:xfrm>
          <a:prstGeom prst="line">
            <a:avLst/>
          </a:prstGeom>
          <a:solidFill>
            <a:srgbClr val="008C95"/>
          </a:solidFill>
          <a:ln w="22225" cap="flat" cmpd="sng" algn="ctr">
            <a:solidFill>
              <a:srgbClr val="C00000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4" name="Прямая соединительная линия 93"/>
          <p:cNvCxnSpPr/>
          <p:nvPr/>
        </p:nvCxnSpPr>
        <p:spPr bwMode="auto">
          <a:xfrm>
            <a:off x="7699023" y="3912541"/>
            <a:ext cx="360181" cy="574016"/>
          </a:xfrm>
          <a:prstGeom prst="line">
            <a:avLst/>
          </a:prstGeom>
          <a:solidFill>
            <a:srgbClr val="008C95"/>
          </a:solidFill>
          <a:ln w="22225" cap="flat" cmpd="sng" algn="ctr">
            <a:solidFill>
              <a:srgbClr val="C00000">
                <a:lumMod val="75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95" name="TextBox 94"/>
          <p:cNvSpPr txBox="1"/>
          <p:nvPr/>
        </p:nvSpPr>
        <p:spPr>
          <a:xfrm>
            <a:off x="7548368" y="4526325"/>
            <a:ext cx="804152" cy="579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56" b="1" dirty="0">
                <a:solidFill>
                  <a:prstClr val="black"/>
                </a:solidFill>
                <a:latin typeface="Arial"/>
              </a:rPr>
              <a:t>неуплата пошлины</a:t>
            </a:r>
          </a:p>
        </p:txBody>
      </p:sp>
      <p:sp>
        <p:nvSpPr>
          <p:cNvPr id="96" name="TextBox 95"/>
          <p:cNvSpPr txBox="1"/>
          <p:nvPr/>
        </p:nvSpPr>
        <p:spPr>
          <a:xfrm>
            <a:off x="135736" y="890795"/>
            <a:ext cx="7634586" cy="300083"/>
          </a:xfrm>
          <a:prstGeom prst="rect">
            <a:avLst/>
          </a:prstGeom>
          <a:noFill/>
        </p:spPr>
        <p:txBody>
          <a:bodyPr vert="horz" wrap="square" lIns="74295" tIns="37148" rIns="74295" bIns="37148" rtlCol="0" anchor="ctr">
            <a:spAutoFit/>
          </a:bodyPr>
          <a:lstStyle>
            <a:defPPr>
              <a:defRPr lang="ru-RU"/>
            </a:defPPr>
            <a:lvl1pPr defTabSz="913984">
              <a:lnSpc>
                <a:spcPct val="90000"/>
              </a:lnSpc>
              <a:spcBef>
                <a:spcPct val="0"/>
              </a:spcBef>
              <a:buNone/>
              <a:defRPr sz="2000">
                <a:solidFill>
                  <a:prstClr val="black"/>
                </a:solidFill>
                <a:latin typeface="Arial"/>
              </a:defRPr>
            </a:lvl1pPr>
          </a:lstStyle>
          <a:p>
            <a:r>
              <a:rPr lang="ru-RU" sz="1625" dirty="0"/>
              <a:t>11 делопроизводств по оспариванию действия 4 патентов в трех странах</a:t>
            </a:r>
          </a:p>
        </p:txBody>
      </p:sp>
      <p:sp>
        <p:nvSpPr>
          <p:cNvPr id="103" name="Скругленный прямоугольник 102"/>
          <p:cNvSpPr/>
          <p:nvPr/>
        </p:nvSpPr>
        <p:spPr bwMode="auto">
          <a:xfrm>
            <a:off x="2048245" y="5106220"/>
            <a:ext cx="5187073" cy="190102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37148" rIns="74295" bIns="37148" numCol="1" rtlCol="0" anchor="t" anchorCtr="0" compatLnSpc="1">
            <a:prstTxWarp prst="textNoShape">
              <a:avLst/>
            </a:prstTxWarp>
          </a:bodyPr>
          <a:lstStyle/>
          <a:p>
            <a:pPr algn="ctr" defTabSz="74295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38" kern="0" dirty="0">
                <a:solidFill>
                  <a:srgbClr val="C00000">
                    <a:lumMod val="75000"/>
                  </a:srgbClr>
                </a:solidFill>
                <a:latin typeface="Arial"/>
              </a:rPr>
              <a:t>Суммарный срок аннулирования, -  3</a:t>
            </a:r>
            <a:r>
              <a:rPr lang="en-US" sz="1138" kern="0" dirty="0">
                <a:solidFill>
                  <a:srgbClr val="C00000">
                    <a:lumMod val="75000"/>
                  </a:srgbClr>
                </a:solidFill>
                <a:latin typeface="Arial"/>
              </a:rPr>
              <a:t>,5</a:t>
            </a:r>
            <a:r>
              <a:rPr lang="ru-RU" sz="1138" kern="0" dirty="0">
                <a:solidFill>
                  <a:srgbClr val="C00000">
                    <a:lumMod val="75000"/>
                  </a:srgbClr>
                </a:solidFill>
                <a:latin typeface="Arial"/>
              </a:rPr>
              <a:t> года</a:t>
            </a:r>
          </a:p>
          <a:p>
            <a:pPr algn="ctr" defTabSz="74295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138" kern="0" dirty="0">
              <a:solidFill>
                <a:srgbClr val="C00000">
                  <a:lumMod val="75000"/>
                </a:srgb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296356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yAZ7I0QEislOeJGty_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qWvzJISQmVghaNqlnA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heme/theme1.xml><?xml version="1.0" encoding="utf-8"?>
<a:theme xmlns:a="http://schemas.openxmlformats.org/drawingml/2006/main" name="SIBUR-NEW-А4-IN">
  <a:themeElements>
    <a:clrScheme name="Другая 3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2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слайд Страт.цель TRL, MRL, PRL" id="{6D38B3E4-2903-45DA-B2B0-76829E23D6E8}" vid="{4EECC808-2A8E-40D0-95D8-9E6B7E99E038}"/>
    </a:ext>
  </a:extLst>
</a:theme>
</file>

<file path=ppt/theme/theme3.xml><?xml version="1.0" encoding="utf-8"?>
<a:theme xmlns:a="http://schemas.openxmlformats.org/drawingml/2006/main" name="blank">
  <a:themeElements>
    <a:clrScheme name="121212">
      <a:dk1>
        <a:sysClr val="windowText" lastClr="000000"/>
      </a:dk1>
      <a:lt1>
        <a:sysClr val="window" lastClr="FFFFFF"/>
      </a:lt1>
      <a:dk2>
        <a:srgbClr val="B2D2D8"/>
      </a:dk2>
      <a:lt2>
        <a:srgbClr val="99CC00"/>
      </a:lt2>
      <a:accent1>
        <a:srgbClr val="008C95"/>
      </a:accent1>
      <a:accent2>
        <a:srgbClr val="FFC000"/>
      </a:accent2>
      <a:accent3>
        <a:srgbClr val="808080"/>
      </a:accent3>
      <a:accent4>
        <a:srgbClr val="F58A1F"/>
      </a:accent4>
      <a:accent5>
        <a:srgbClr val="B2D2D8"/>
      </a:accent5>
      <a:accent6>
        <a:srgbClr val="C00000"/>
      </a:accent6>
      <a:hlink>
        <a:srgbClr val="008C95"/>
      </a:hlink>
      <a:folHlink>
        <a:srgbClr val="00696F"/>
      </a:folHlink>
    </a:clrScheme>
    <a:fontScheme name="Се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+" id="{F7BBB245-C9BC-BA43-80AB-C21372824DAE}" vid="{6FBB5A1C-A9B2-3C43-B7D7-CBD79BB86CE0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7bda88f5-81ee-4ce0-acd0-0fc58edecc95">E76AX7DTSNFM-10-757</_dlc_DocId>
    <_dlc_DocIdUrl xmlns="7bda88f5-81ee-4ce0-acd0-0fc58edecc95">
      <Url>https://sharepoint/portals/template/_layouts/15/DocIdRedir.aspx?ID=E76AX7DTSNFM-10-757</Url>
      <Description>E76AX7DTSNFM-10-757</Description>
    </_dlc_DocIdUrl>
    <_x041e__x043f__x0438__x0441__x0430__x043d__x0438__x0435_ xmlns="9b0c9865-9e5f-4a19-8def-db8deaed8a57" xsi:nil="true"/>
  </documentManagement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16FAC3A0D30DAA42AF4EBACF79D57079" ma:contentTypeVersion="1" ma:contentTypeDescription="Создание документа." ma:contentTypeScope="" ma:versionID="5b038f186db50e1ddcdbacd989e9fd93">
  <xsd:schema xmlns:xsd="http://www.w3.org/2001/XMLSchema" xmlns:xs="http://www.w3.org/2001/XMLSchema" xmlns:p="http://schemas.microsoft.com/office/2006/metadata/properties" xmlns:ns2="7bda88f5-81ee-4ce0-acd0-0fc58edecc95" xmlns:ns3="9b0c9865-9e5f-4a19-8def-db8deaed8a57" targetNamespace="http://schemas.microsoft.com/office/2006/metadata/properties" ma:root="true" ma:fieldsID="6f43ea1788a8d090c714bc610b22df34" ns2:_="" ns3:_="">
    <xsd:import namespace="7bda88f5-81ee-4ce0-acd0-0fc58edecc95"/>
    <xsd:import namespace="9b0c9865-9e5f-4a19-8def-db8deaed8a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_x041e__x043f__x0438__x0441__x0430__x043d__x0438__x0435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da88f5-81ee-4ce0-acd0-0fc58edecc95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0c9865-9e5f-4a19-8def-db8deaed8a57" elementFormDefault="qualified">
    <xsd:import namespace="http://schemas.microsoft.com/office/2006/documentManagement/types"/>
    <xsd:import namespace="http://schemas.microsoft.com/office/infopath/2007/PartnerControls"/>
    <xsd:element name="_x041e__x043f__x0438__x0441__x0430__x043d__x0438__x0435_" ma:index="11" nillable="true" ma:displayName="Описание" ma:internalName="_x041e__x043f__x0438__x0441__x0430__x043d__x0438__x0435_">
      <xsd:simpleType>
        <xsd:restriction base="dms:Text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E59AD82-81F3-433F-B4DB-6D3E3D11D3DF}">
  <ds:schemaRefs>
    <ds:schemaRef ds:uri="http://schemas.microsoft.com/sharepoint/events"/>
  </ds:schemaRefs>
</ds:datastoreItem>
</file>

<file path=customXml/itemProps2.xml><?xml version="1.0" encoding="utf-8"?>
<ds:datastoreItem xmlns:ds="http://schemas.openxmlformats.org/officeDocument/2006/customXml" ds:itemID="{3EAE0436-9E32-4CA6-9277-3249993CC3EB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755DF84-B034-4E60-8A9F-FE26D4E6705C}">
  <ds:schemaRefs>
    <ds:schemaRef ds:uri="http://purl.org/dc/elements/1.1/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9b0c9865-9e5f-4a19-8def-db8deaed8a57"/>
    <ds:schemaRef ds:uri="7bda88f5-81ee-4ce0-acd0-0fc58edecc95"/>
    <ds:schemaRef ds:uri="http://www.w3.org/XML/1998/namespace"/>
    <ds:schemaRef ds:uri="http://purl.org/dc/dcmitype/"/>
  </ds:schemaRefs>
</ds:datastoreItem>
</file>

<file path=customXml/itemProps4.xml><?xml version="1.0" encoding="utf-8"?>
<ds:datastoreItem xmlns:ds="http://schemas.openxmlformats.org/officeDocument/2006/customXml" ds:itemID="{3014D1FA-B97E-4A88-B706-B252474A076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bda88f5-81ee-4ce0-acd0-0fc58edecc95"/>
    <ds:schemaRef ds:uri="9b0c9865-9e5f-4a19-8def-db8deaed8a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BUR-NEW-А4-IN</Template>
  <TotalTime>37582</TotalTime>
  <Words>1307</Words>
  <Application>Microsoft Office PowerPoint</Application>
  <PresentationFormat>Лист A4 (210x297 мм)</PresentationFormat>
  <Paragraphs>394</Paragraphs>
  <Slides>11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1</vt:i4>
      </vt:variant>
    </vt:vector>
  </HeadingPairs>
  <TitlesOfParts>
    <vt:vector size="22" baseType="lpstr">
      <vt:lpstr>Adobe Hebrew</vt:lpstr>
      <vt:lpstr>Arial</vt:lpstr>
      <vt:lpstr>Calibri</vt:lpstr>
      <vt:lpstr>Courier New</vt:lpstr>
      <vt:lpstr>Times New Roman</vt:lpstr>
      <vt:lpstr>Wingdings</vt:lpstr>
      <vt:lpstr>SIBUR-NEW-А4-IN</vt:lpstr>
      <vt:lpstr>Базовые слайды</vt:lpstr>
      <vt:lpstr>blank</vt:lpstr>
      <vt:lpstr>think-cell Slide</vt:lpstr>
      <vt:lpstr>Слайд think-cell</vt:lpstr>
      <vt:lpstr>Принципы IP-менеджмента проектов R&amp;D  Предварительная оценка патентных рисков</vt:lpstr>
      <vt:lpstr>IP-менеджмент проектов</vt:lpstr>
      <vt:lpstr>Высокоэнергетическая рентгеновская дифракция (прямая защита продукта)</vt:lpstr>
      <vt:lpstr>Презентация PowerPoint</vt:lpstr>
      <vt:lpstr>Примеры формул изобретений патентов, которые могут быть  препятствием для Клиента</vt:lpstr>
      <vt:lpstr>Презентация PowerPoint</vt:lpstr>
      <vt:lpstr>Признаки, в формулах изобретений оспариваемых патентов</vt:lpstr>
      <vt:lpstr>Патенты на упаковку: 85% признаков пленки и 15% признаков  упаковки</vt:lpstr>
      <vt:lpstr>Презентация PowerPoint</vt:lpstr>
      <vt:lpstr>Презентация PowerPoint</vt:lpstr>
      <vt:lpstr>Эффективный IP-менеджмент проектов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йленко Наталья Владимировна</dc:creator>
  <cp:lastModifiedBy>Переговорка</cp:lastModifiedBy>
  <cp:revision>1273</cp:revision>
  <dcterms:created xsi:type="dcterms:W3CDTF">2017-07-19T13:48:40Z</dcterms:created>
  <dcterms:modified xsi:type="dcterms:W3CDTF">2022-10-14T18:04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AC3A0D30DAA42AF4EBACF79D57079</vt:lpwstr>
  </property>
  <property fmtid="{D5CDD505-2E9C-101B-9397-08002B2CF9AE}" pid="3" name="_dlc_DocIdItemGuid">
    <vt:lpwstr>f990cb72-c5c5-48bc-8e57-a45ff5797b61</vt:lpwstr>
  </property>
</Properties>
</file>